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137"/>
  </p:notesMasterIdLst>
  <p:sldIdLst>
    <p:sldId id="2147477081" r:id="rId6"/>
    <p:sldId id="2147477082" r:id="rId7"/>
    <p:sldId id="2147477083" r:id="rId8"/>
    <p:sldId id="2147477084" r:id="rId9"/>
    <p:sldId id="2147477085" r:id="rId10"/>
    <p:sldId id="2147477086" r:id="rId11"/>
    <p:sldId id="2147477087" r:id="rId12"/>
    <p:sldId id="2147477088" r:id="rId13"/>
    <p:sldId id="2147477089" r:id="rId14"/>
    <p:sldId id="2147477090" r:id="rId15"/>
    <p:sldId id="2147477091" r:id="rId16"/>
    <p:sldId id="2147477092" r:id="rId17"/>
    <p:sldId id="2147477093" r:id="rId18"/>
    <p:sldId id="2147477094" r:id="rId19"/>
    <p:sldId id="2147477095" r:id="rId20"/>
    <p:sldId id="2147477096" r:id="rId21"/>
    <p:sldId id="2147477097" r:id="rId22"/>
    <p:sldId id="2147477098" r:id="rId23"/>
    <p:sldId id="2147477099" r:id="rId24"/>
    <p:sldId id="2147477100" r:id="rId25"/>
    <p:sldId id="2147477101" r:id="rId26"/>
    <p:sldId id="2147477102" r:id="rId27"/>
    <p:sldId id="2147477103" r:id="rId28"/>
    <p:sldId id="2147477104" r:id="rId29"/>
    <p:sldId id="2147477105" r:id="rId30"/>
    <p:sldId id="2147477106" r:id="rId31"/>
    <p:sldId id="2147477107" r:id="rId32"/>
    <p:sldId id="2147477108" r:id="rId33"/>
    <p:sldId id="2147477109" r:id="rId34"/>
    <p:sldId id="2147477110" r:id="rId35"/>
    <p:sldId id="2147477111" r:id="rId36"/>
    <p:sldId id="2147477112" r:id="rId37"/>
    <p:sldId id="2147477113" r:id="rId38"/>
    <p:sldId id="2147477114" r:id="rId39"/>
    <p:sldId id="2147477115" r:id="rId40"/>
    <p:sldId id="2147477116" r:id="rId41"/>
    <p:sldId id="2147477117" r:id="rId42"/>
    <p:sldId id="2147477118" r:id="rId43"/>
    <p:sldId id="2147477119" r:id="rId44"/>
    <p:sldId id="2147477120" r:id="rId45"/>
    <p:sldId id="2147477121" r:id="rId46"/>
    <p:sldId id="2147477122" r:id="rId47"/>
    <p:sldId id="2147477123" r:id="rId48"/>
    <p:sldId id="2147477124" r:id="rId49"/>
    <p:sldId id="2147477125" r:id="rId50"/>
    <p:sldId id="2147477126" r:id="rId51"/>
    <p:sldId id="2147477127" r:id="rId52"/>
    <p:sldId id="2147477128" r:id="rId53"/>
    <p:sldId id="2147477129" r:id="rId54"/>
    <p:sldId id="2147477130" r:id="rId55"/>
    <p:sldId id="2147477131" r:id="rId56"/>
    <p:sldId id="2147477132" r:id="rId57"/>
    <p:sldId id="2147477133" r:id="rId58"/>
    <p:sldId id="2147477134" r:id="rId59"/>
    <p:sldId id="2147477135" r:id="rId60"/>
    <p:sldId id="2147477136" r:id="rId61"/>
    <p:sldId id="2147477137" r:id="rId62"/>
    <p:sldId id="2147477138" r:id="rId63"/>
    <p:sldId id="2147477139" r:id="rId64"/>
    <p:sldId id="2147477140" r:id="rId65"/>
    <p:sldId id="2147477141" r:id="rId66"/>
    <p:sldId id="2147477142" r:id="rId67"/>
    <p:sldId id="2147477143" r:id="rId68"/>
    <p:sldId id="2147477144" r:id="rId69"/>
    <p:sldId id="2147477145" r:id="rId70"/>
    <p:sldId id="2147477146" r:id="rId71"/>
    <p:sldId id="2147477147" r:id="rId72"/>
    <p:sldId id="2147477148" r:id="rId73"/>
    <p:sldId id="2147477149" r:id="rId74"/>
    <p:sldId id="2147477150" r:id="rId75"/>
    <p:sldId id="2147477151" r:id="rId76"/>
    <p:sldId id="2147477152" r:id="rId77"/>
    <p:sldId id="2147477153" r:id="rId78"/>
    <p:sldId id="2147477154" r:id="rId79"/>
    <p:sldId id="2147477155" r:id="rId80"/>
    <p:sldId id="2147477156" r:id="rId81"/>
    <p:sldId id="2147477157" r:id="rId82"/>
    <p:sldId id="2147477158" r:id="rId83"/>
    <p:sldId id="2147477159" r:id="rId84"/>
    <p:sldId id="2147477160" r:id="rId85"/>
    <p:sldId id="2147477161" r:id="rId86"/>
    <p:sldId id="2147477162" r:id="rId87"/>
    <p:sldId id="2147477163" r:id="rId88"/>
    <p:sldId id="2147477164" r:id="rId89"/>
    <p:sldId id="2147477165" r:id="rId90"/>
    <p:sldId id="2147477166" r:id="rId91"/>
    <p:sldId id="2147477167" r:id="rId92"/>
    <p:sldId id="2147477168" r:id="rId93"/>
    <p:sldId id="2147477169" r:id="rId94"/>
    <p:sldId id="2147477170" r:id="rId95"/>
    <p:sldId id="2147477171" r:id="rId96"/>
    <p:sldId id="2147477172" r:id="rId97"/>
    <p:sldId id="2147477173" r:id="rId98"/>
    <p:sldId id="2147477174" r:id="rId99"/>
    <p:sldId id="2147477175" r:id="rId100"/>
    <p:sldId id="2147477176" r:id="rId101"/>
    <p:sldId id="2147477177" r:id="rId102"/>
    <p:sldId id="2147477178" r:id="rId103"/>
    <p:sldId id="2147477179" r:id="rId104"/>
    <p:sldId id="2147477180" r:id="rId105"/>
    <p:sldId id="2147477181" r:id="rId106"/>
    <p:sldId id="2147477182" r:id="rId107"/>
    <p:sldId id="2147477183" r:id="rId108"/>
    <p:sldId id="2147477184" r:id="rId109"/>
    <p:sldId id="2147477185" r:id="rId110"/>
    <p:sldId id="2147477186" r:id="rId111"/>
    <p:sldId id="2147477187" r:id="rId112"/>
    <p:sldId id="2147477188" r:id="rId113"/>
    <p:sldId id="2147477189" r:id="rId114"/>
    <p:sldId id="2147477190" r:id="rId115"/>
    <p:sldId id="2147477191" r:id="rId116"/>
    <p:sldId id="2147477192" r:id="rId117"/>
    <p:sldId id="2147477193" r:id="rId118"/>
    <p:sldId id="2147477194" r:id="rId119"/>
    <p:sldId id="2147477195" r:id="rId120"/>
    <p:sldId id="2147477196" r:id="rId121"/>
    <p:sldId id="2147477197" r:id="rId122"/>
    <p:sldId id="2147477198" r:id="rId123"/>
    <p:sldId id="2147477199" r:id="rId124"/>
    <p:sldId id="2147477200" r:id="rId125"/>
    <p:sldId id="2147477201" r:id="rId126"/>
    <p:sldId id="2147477202" r:id="rId127"/>
    <p:sldId id="2147477203" r:id="rId128"/>
    <p:sldId id="2147477204" r:id="rId129"/>
    <p:sldId id="2147477205" r:id="rId130"/>
    <p:sldId id="2147477206" r:id="rId131"/>
    <p:sldId id="2147477207" r:id="rId132"/>
    <p:sldId id="2147477208" r:id="rId133"/>
    <p:sldId id="2147477209" r:id="rId134"/>
    <p:sldId id="2147477028" r:id="rId135"/>
    <p:sldId id="2147477029" r:id="rId13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Elasticity" id="{BEA60C48-FB02-4466-B66E-4C4215B7667F}">
          <p14:sldIdLst>
            <p14:sldId id="2147477081"/>
            <p14:sldId id="2147477082"/>
            <p14:sldId id="2147477083"/>
            <p14:sldId id="2147477084"/>
          </p14:sldIdLst>
        </p14:section>
        <p14:section name="Brand Sourcing Analysis" id="{7B3C4BEF-C401-4A0E-BC77-31D65EBE89BC}">
          <p14:sldIdLst>
            <p14:sldId id="2147477085"/>
            <p14:sldId id="2147477086"/>
            <p14:sldId id="2147477087"/>
            <p14:sldId id="2147477088"/>
            <p14:sldId id="2147477089"/>
            <p14:sldId id="2147477090"/>
            <p14:sldId id="2147477091"/>
          </p14:sldIdLst>
        </p14:section>
        <p14:section name="Size Elasticity" id="{D1175483-48A8-4237-A904-29504E1DDF5A}">
          <p14:sldIdLst>
            <p14:sldId id="2147477092"/>
            <p14:sldId id="2147477093"/>
            <p14:sldId id="2147477094"/>
            <p14:sldId id="2147477095"/>
            <p14:sldId id="2147477096"/>
          </p14:sldIdLst>
        </p14:section>
        <p14:section name="PE, Revenue Responses, Sourcing by product" id="{895129FD-787E-4723-974E-93C028390940}">
          <p14:sldIdLst>
            <p14:sldId id="2147477097"/>
            <p14:sldId id="2147477098"/>
            <p14:sldId id="2147477099"/>
            <p14:sldId id="2147477100"/>
            <p14:sldId id="2147477101"/>
            <p14:sldId id="2147477102"/>
            <p14:sldId id="2147477103"/>
            <p14:sldId id="2147477104"/>
            <p14:sldId id="2147477105"/>
            <p14:sldId id="2147477106"/>
            <p14:sldId id="2147477107"/>
            <p14:sldId id="2147477108"/>
            <p14:sldId id="2147477109"/>
            <p14:sldId id="2147477110"/>
            <p14:sldId id="2147477111"/>
            <p14:sldId id="2147477112"/>
            <p14:sldId id="2147477113"/>
            <p14:sldId id="2147477114"/>
            <p14:sldId id="2147477115"/>
            <p14:sldId id="2147477116"/>
            <p14:sldId id="2147477117"/>
            <p14:sldId id="2147477118"/>
            <p14:sldId id="2147477119"/>
            <p14:sldId id="2147477120"/>
            <p14:sldId id="2147477121"/>
            <p14:sldId id="2147477122"/>
            <p14:sldId id="2147477123"/>
            <p14:sldId id="2147477124"/>
            <p14:sldId id="2147477125"/>
            <p14:sldId id="2147477126"/>
            <p14:sldId id="2147477127"/>
            <p14:sldId id="2147477128"/>
            <p14:sldId id="2147477129"/>
            <p14:sldId id="2147477130"/>
            <p14:sldId id="2147477131"/>
            <p14:sldId id="2147477132"/>
            <p14:sldId id="2147477133"/>
            <p14:sldId id="2147477134"/>
            <p14:sldId id="2147477135"/>
            <p14:sldId id="2147477136"/>
            <p14:sldId id="2147477137"/>
            <p14:sldId id="2147477138"/>
            <p14:sldId id="2147477139"/>
            <p14:sldId id="2147477140"/>
            <p14:sldId id="2147477141"/>
            <p14:sldId id="2147477142"/>
            <p14:sldId id="2147477143"/>
            <p14:sldId id="2147477144"/>
            <p14:sldId id="2147477145"/>
            <p14:sldId id="2147477146"/>
            <p14:sldId id="2147477147"/>
            <p14:sldId id="2147477148"/>
            <p14:sldId id="2147477149"/>
            <p14:sldId id="2147477150"/>
            <p14:sldId id="2147477151"/>
            <p14:sldId id="2147477152"/>
            <p14:sldId id="2147477153"/>
            <p14:sldId id="2147477154"/>
            <p14:sldId id="2147477155"/>
            <p14:sldId id="2147477156"/>
            <p14:sldId id="2147477157"/>
            <p14:sldId id="2147477158"/>
            <p14:sldId id="2147477159"/>
            <p14:sldId id="2147477160"/>
            <p14:sldId id="2147477161"/>
            <p14:sldId id="2147477162"/>
            <p14:sldId id="2147477163"/>
            <p14:sldId id="2147477164"/>
            <p14:sldId id="2147477165"/>
            <p14:sldId id="2147477166"/>
            <p14:sldId id="2147477167"/>
            <p14:sldId id="2147477168"/>
            <p14:sldId id="2147477169"/>
            <p14:sldId id="2147477170"/>
            <p14:sldId id="2147477171"/>
            <p14:sldId id="2147477172"/>
            <p14:sldId id="2147477173"/>
            <p14:sldId id="2147477174"/>
            <p14:sldId id="2147477175"/>
            <p14:sldId id="2147477176"/>
            <p14:sldId id="2147477177"/>
            <p14:sldId id="2147477178"/>
            <p14:sldId id="2147477179"/>
            <p14:sldId id="2147477180"/>
            <p14:sldId id="2147477181"/>
            <p14:sldId id="2147477182"/>
            <p14:sldId id="2147477183"/>
            <p14:sldId id="2147477184"/>
            <p14:sldId id="2147477185"/>
            <p14:sldId id="2147477186"/>
            <p14:sldId id="2147477187"/>
            <p14:sldId id="2147477188"/>
            <p14:sldId id="2147477189"/>
            <p14:sldId id="2147477190"/>
            <p14:sldId id="2147477191"/>
            <p14:sldId id="2147477192"/>
            <p14:sldId id="2147477193"/>
            <p14:sldId id="2147477194"/>
            <p14:sldId id="2147477195"/>
            <p14:sldId id="2147477196"/>
            <p14:sldId id="2147477197"/>
            <p14:sldId id="2147477198"/>
            <p14:sldId id="2147477199"/>
            <p14:sldId id="2147477200"/>
            <p14:sldId id="2147477201"/>
            <p14:sldId id="2147477202"/>
            <p14:sldId id="2147477203"/>
            <p14:sldId id="2147477204"/>
            <p14:sldId id="2147477205"/>
            <p14:sldId id="2147477206"/>
            <p14:sldId id="2147477207"/>
            <p14:sldId id="2147477208"/>
            <p14:sldId id="2147477209"/>
          </p14:sldIdLst>
        </p14:section>
        <p14:section name="PE Restage" id="{D1F604B0-F496-4EB9-9BB5-A9602B0DC041}">
          <p14:sldIdLst>
            <p14:sldId id="2147477028"/>
            <p14:sldId id="2147477029"/>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7" autoAdjust="0"/>
    <p:restoredTop sz="94660"/>
  </p:normalViewPr>
  <p:slideViewPr>
    <p:cSldViewPr snapToGrid="0" showGuides="1">
      <p:cViewPr varScale="1">
        <p:scale>
          <a:sx n="107" d="100"/>
          <a:sy n="107" d="100"/>
        </p:scale>
        <p:origin x="60" y="288"/>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openxmlformats.org/officeDocument/2006/relationships/presProps" Target="presProps.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28" Type="http://schemas.openxmlformats.org/officeDocument/2006/relationships/slide" Target="slides/slide123.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slide" Target="slides/slide129.xml"/><Relationship Id="rId139" Type="http://schemas.openxmlformats.org/officeDocument/2006/relationships/viewProps" Target="viewProps.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slide" Target="slides/slide119.xml"/><Relationship Id="rId129" Type="http://schemas.openxmlformats.org/officeDocument/2006/relationships/slide" Target="slides/slide124.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4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slide" Target="slides/slide125.xml"/><Relationship Id="rId135" Type="http://schemas.openxmlformats.org/officeDocument/2006/relationships/slide" Target="slides/slide130.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4" Type="http://schemas.openxmlformats.org/officeDocument/2006/relationships/slideMaster" Target="slideMasters/slideMaster1.xml"/><Relationship Id="rId9" Type="http://schemas.openxmlformats.org/officeDocument/2006/relationships/slide" Target="slides/slide4.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6"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Schick</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Gillet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B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Harrys</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Dollar Shave Club</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Van Der Hage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Not include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9</c:f>
              <c:numCache>
                <c:formatCode>General</c:formatCode>
                <c:ptCount val="8"/>
                <c:pt idx="0">
                  <c:v>-0.6685703291851004</c:v>
                </c:pt>
                <c:pt idx="1">
                  <c:v>-0.21363895702525393</c:v>
                </c:pt>
                <c:pt idx="2">
                  <c:v>-0.5383520493111823</c:v>
                </c:pt>
                <c:pt idx="3">
                  <c:v>-0.45664615783361878</c:v>
                </c:pt>
                <c:pt idx="4">
                  <c:v>-0.4101174860345041</c:v>
                </c:pt>
                <c:pt idx="5">
                  <c:v>-0.9105738721936264</c:v>
                </c:pt>
                <c:pt idx="6">
                  <c:v>-0.22432378722084048</c:v>
                </c:pt>
                <c:pt idx="7">
                  <c:v>0</c:v>
                </c:pt>
              </c:numCache>
            </c:numRef>
          </c:xVal>
          <c:yVal>
            <c:numRef>
              <c:f>Sheet1!$B$2:$B$9</c:f>
              <c:numCache>
                <c:formatCode>General</c:formatCode>
                <c:ptCount val="8"/>
                <c:pt idx="0">
                  <c:v>-1.0765741891563563</c:v>
                </c:pt>
                <c:pt idx="1">
                  <c:v>-0.23457935214662312</c:v>
                </c:pt>
                <c:pt idx="2">
                  <c:v>-0.45747024082768939</c:v>
                </c:pt>
                <c:pt idx="3">
                  <c:v>-0.42790860774898282</c:v>
                </c:pt>
                <c:pt idx="4">
                  <c:v>-0.45967432796842084</c:v>
                </c:pt>
                <c:pt idx="5">
                  <c:v>-0.70494470335529613</c:v>
                </c:pt>
                <c:pt idx="6">
                  <c:v>-0.16535719830084741</c:v>
                </c:pt>
                <c:pt idx="7">
                  <c:v>0</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Gillette (38.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ic (16.9%)</c:v>
                </c:pt>
                <c:pt idx="1">
                  <c:v>Schick (11.2%)</c:v>
                </c:pt>
                <c:pt idx="2">
                  <c:v>Equate (21.7%)</c:v>
                </c:pt>
                <c:pt idx="3">
                  <c:v>Harrys (11.2%)</c:v>
                </c:pt>
                <c:pt idx="4">
                  <c:v>Dollar Shave Club (2.9%)</c:v>
                </c:pt>
                <c:pt idx="5">
                  <c:v>Van Der Hagen (2.0%)</c:v>
                </c:pt>
              </c:strCache>
            </c:strRef>
          </c:cat>
          <c:val>
            <c:numRef>
              <c:f>Sheet1!$B$2:$B$7</c:f>
              <c:numCache>
                <c:formatCode>General</c:formatCode>
                <c:ptCount val="6"/>
                <c:pt idx="0">
                  <c:v>0.24667119859031142</c:v>
                </c:pt>
                <c:pt idx="1">
                  <c:v>0.21485720800740607</c:v>
                </c:pt>
                <c:pt idx="2">
                  <c:v>0.19789852868871807</c:v>
                </c:pt>
                <c:pt idx="3">
                  <c:v>6.0204080041666545E-2</c:v>
                </c:pt>
                <c:pt idx="4">
                  <c:v>4.1626195621364562E-2</c:v>
                </c:pt>
                <c:pt idx="5">
                  <c:v>1.222041234148396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2 Blade Disposable Razors 20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Equate 2 Blade Disposable Razors 5 Pack (5.5%)</c:v>
                </c:pt>
                <c:pt idx="2">
                  <c:v>Bic Men Sensitive Single Blade Disposable Razors 12 Pack (5.7%)</c:v>
                </c:pt>
                <c:pt idx="3">
                  <c:v>Schick Xtreme 2 Sensitive Disposable Razors 12 Pack (2.7%)</c:v>
                </c:pt>
                <c:pt idx="4">
                  <c:v>None Razors (12.2%)</c:v>
                </c:pt>
                <c:pt idx="5">
                  <c:v>Schick Xtreme 3 Sensitive Disposable Razors 4 Pack (2.8%)</c:v>
                </c:pt>
                <c:pt idx="6">
                  <c:v>Equate Speed 3 Disposable Razors 4 Pack (2.3%)</c:v>
                </c:pt>
                <c:pt idx="7">
                  <c:v>Equate Caliber 5 Disposable Razors 3 Pack (2.2%)</c:v>
                </c:pt>
                <c:pt idx="8">
                  <c:v>Equate Speed 3 Disposable Razors 8 Pack (1.9%)</c:v>
                </c:pt>
                <c:pt idx="9">
                  <c:v>Equate Caliber 3 Disposable Razors 3 Pack (1.4%)</c:v>
                </c:pt>
              </c:strCache>
            </c:strRef>
          </c:cat>
          <c:val>
            <c:numRef>
              <c:f>Sheet1!$B$2:$B$11</c:f>
              <c:numCache>
                <c:formatCode>General</c:formatCode>
                <c:ptCount val="10"/>
                <c:pt idx="0">
                  <c:v>0.34593073901891808</c:v>
                </c:pt>
                <c:pt idx="1">
                  <c:v>0.21986558178345866</c:v>
                </c:pt>
                <c:pt idx="2">
                  <c:v>8.9948334419224479E-2</c:v>
                </c:pt>
                <c:pt idx="3">
                  <c:v>2.9520689262990285E-2</c:v>
                </c:pt>
                <c:pt idx="4">
                  <c:v>2.9361971351882673E-2</c:v>
                </c:pt>
                <c:pt idx="5">
                  <c:v>2.893366658443661E-2</c:v>
                </c:pt>
                <c:pt idx="6">
                  <c:v>2.6010005875009557E-2</c:v>
                </c:pt>
                <c:pt idx="7">
                  <c:v>2.2518967503290518E-2</c:v>
                </c:pt>
                <c:pt idx="8">
                  <c:v>2.0786951108098028E-2</c:v>
                </c:pt>
                <c:pt idx="9">
                  <c:v>1.698895121074355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2 Blade Disposable Razors 20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Equate 2 Blade Disposable Razors 5 Pack (5.5%)</c:v>
                </c:pt>
                <c:pt idx="2">
                  <c:v>Bic Men Sensitive Single Blade Disposable Razors 12 Pack (5.7%)</c:v>
                </c:pt>
                <c:pt idx="3">
                  <c:v>None Razors (12.2%)</c:v>
                </c:pt>
                <c:pt idx="4">
                  <c:v>Schick Xtreme 3 Sensitive Disposable Razors 4 Pack (2.8%)</c:v>
                </c:pt>
                <c:pt idx="5">
                  <c:v>Schick Xtreme 2 Sensitive Disposable Razors 12 Pack (2.7%)</c:v>
                </c:pt>
                <c:pt idx="6">
                  <c:v>Equate Speed 3 Disposable Razors 4 Pack (2.3%)</c:v>
                </c:pt>
                <c:pt idx="7">
                  <c:v>Equate Caliber 5 Disposable Razors 3 Pack (2.2%)</c:v>
                </c:pt>
                <c:pt idx="8">
                  <c:v>Bic 3 Sensitive Disposable Razors 5 Pack (1.9%)</c:v>
                </c:pt>
                <c:pt idx="9">
                  <c:v>Equate Speed 3 Disposable Razors 8 Pack (1.9%)</c:v>
                </c:pt>
              </c:strCache>
            </c:strRef>
          </c:cat>
          <c:val>
            <c:numRef>
              <c:f>Sheet1!$B$2:$B$11</c:f>
              <c:numCache>
                <c:formatCode>General</c:formatCode>
                <c:ptCount val="10"/>
                <c:pt idx="0">
                  <c:v>0.36844105756967738</c:v>
                </c:pt>
                <c:pt idx="1">
                  <c:v>0.22378191064102973</c:v>
                </c:pt>
                <c:pt idx="2">
                  <c:v>8.477824175592967E-2</c:v>
                </c:pt>
                <c:pt idx="3">
                  <c:v>4.4380607502083426E-2</c:v>
                </c:pt>
                <c:pt idx="4">
                  <c:v>2.3873272546380737E-2</c:v>
                </c:pt>
                <c:pt idx="5">
                  <c:v>2.3587861501738625E-2</c:v>
                </c:pt>
                <c:pt idx="6">
                  <c:v>2.3358845023663151E-2</c:v>
                </c:pt>
                <c:pt idx="7">
                  <c:v>2.0145689277826288E-2</c:v>
                </c:pt>
                <c:pt idx="8">
                  <c:v>1.6261445314134901E-2</c:v>
                </c:pt>
                <c:pt idx="9">
                  <c:v>1.620549141018752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B$2:$B$15</c:f>
              <c:numCache>
                <c:formatCode>General</c:formatCode>
                <c:ptCount val="14"/>
                <c:pt idx="0">
                  <c:v>123.29509599530839</c:v>
                </c:pt>
                <c:pt idx="1">
                  <c:v>117.73524507682274</c:v>
                </c:pt>
                <c:pt idx="2">
                  <c:v>112.68327573444164</c:v>
                </c:pt>
                <c:pt idx="3">
                  <c:v>108.07779636054107</c:v>
                </c:pt>
                <c:pt idx="4">
                  <c:v>103.86546967104957</c:v>
                </c:pt>
                <c:pt idx="5">
                  <c:v>100</c:v>
                </c:pt>
                <c:pt idx="6">
                  <c:v>88.176318826061262</c:v>
                </c:pt>
                <c:pt idx="7">
                  <c:v>78.888872060418592</c:v>
                </c:pt>
                <c:pt idx="8">
                  <c:v>71.45277346342408</c:v>
                </c:pt>
                <c:pt idx="9">
                  <c:v>67.861040260221046</c:v>
                </c:pt>
                <c:pt idx="10">
                  <c:v>64.57789384850247</c:v>
                </c:pt>
                <c:pt idx="11">
                  <c:v>61.569355803982603</c:v>
                </c:pt>
                <c:pt idx="12">
                  <c:v>58.805656345526046</c:v>
                </c:pt>
                <c:pt idx="13">
                  <c:v>56.26068693546870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C$2:$C$15</c:f>
              <c:numCache>
                <c:formatCode>General</c:formatCode>
                <c:ptCount val="14"/>
                <c:pt idx="0">
                  <c:v>104.28957859641568</c:v>
                </c:pt>
                <c:pt idx="1">
                  <c:v>103.21645650514799</c:v>
                </c:pt>
                <c:pt idx="2">
                  <c:v>102.26145082979976</c:v>
                </c:pt>
                <c:pt idx="3">
                  <c:v>101.41390420731587</c:v>
                </c:pt>
                <c:pt idx="4">
                  <c:v>100.66340213346206</c:v>
                </c:pt>
                <c:pt idx="5">
                  <c:v>100</c:v>
                </c:pt>
                <c:pt idx="6">
                  <c:v>90.899680242735926</c:v>
                </c:pt>
                <c:pt idx="7">
                  <c:v>83.76173082645515</c:v>
                </c:pt>
                <c:pt idx="8">
                  <c:v>78.072872179724499</c:v>
                </c:pt>
                <c:pt idx="9">
                  <c:v>76.241989459567776</c:v>
                </c:pt>
                <c:pt idx="10">
                  <c:v>74.545814993234913</c:v>
                </c:pt>
                <c:pt idx="11">
                  <c:v>72.972609502539925</c:v>
                </c:pt>
                <c:pt idx="12">
                  <c:v>71.511565208455181</c:v>
                </c:pt>
                <c:pt idx="13">
                  <c:v>70.15277098496210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D$2:$D$15</c:f>
              <c:numCache>
                <c:formatCode>General</c:formatCode>
                <c:ptCount val="14"/>
                <c:pt idx="0">
                  <c:v>68.263402506671071</c:v>
                </c:pt>
                <c:pt idx="1">
                  <c:v>75.695163157432518</c:v>
                </c:pt>
                <c:pt idx="2">
                  <c:v>82.506155834639443</c:v>
                </c:pt>
                <c:pt idx="3">
                  <c:v>88.78196268856118</c:v>
                </c:pt>
                <c:pt idx="4">
                  <c:v>94.593579909581564</c:v>
                </c:pt>
                <c:pt idx="5">
                  <c:v>100</c:v>
                </c:pt>
                <c:pt idx="6">
                  <c:v>96.047665389231682</c:v>
                </c:pt>
                <c:pt idx="7">
                  <c:v>92.973416759774622</c:v>
                </c:pt>
                <c:pt idx="8">
                  <c:v>90.588167761515933</c:v>
                </c:pt>
                <c:pt idx="9">
                  <c:v>92.092388229244278</c:v>
                </c:pt>
                <c:pt idx="10">
                  <c:v>93.401674970727882</c:v>
                </c:pt>
                <c:pt idx="11">
                  <c:v>94.546491410672502</c:v>
                </c:pt>
                <c:pt idx="12">
                  <c:v>95.552006725427361</c:v>
                </c:pt>
                <c:pt idx="13">
                  <c:v>96.43903601122697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E$2:$E$15</c:f>
              <c:numCache>
                <c:formatCode>General</c:formatCode>
                <c:ptCount val="14"/>
                <c:pt idx="0">
                  <c:v>0.22677111085179383</c:v>
                </c:pt>
                <c:pt idx="1">
                  <c:v>0.25404549847606922</c:v>
                </c:pt>
                <c:pt idx="2">
                  <c:v>0.27946132476308544</c:v>
                </c:pt>
                <c:pt idx="3">
                  <c:v>0.30320230253036445</c:v>
                </c:pt>
                <c:pt idx="4">
                  <c:v>0.32542870436352661</c:v>
                </c:pt>
                <c:pt idx="5">
                  <c:v>0.34628098552694175</c:v>
                </c:pt>
                <c:pt idx="6">
                  <c:v>0.3658827550763587</c:v>
                </c:pt>
                <c:pt idx="7">
                  <c:v>0.38434322799990001</c:v>
                </c:pt>
                <c:pt idx="8">
                  <c:v>0.40175926115407523</c:v>
                </c:pt>
                <c:pt idx="9">
                  <c:v>0.41821705314433461</c:v>
                </c:pt>
                <c:pt idx="10">
                  <c:v>0.43379357113243822</c:v>
                </c:pt>
                <c:pt idx="11">
                  <c:v>0.44855775441451262</c:v>
                </c:pt>
                <c:pt idx="12">
                  <c:v>0.46257153448021771</c:v>
                </c:pt>
                <c:pt idx="13">
                  <c:v>0.4758907033902494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Caliber 3 Disposable Razor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Speed 3 Disposable Razors 4 Pack (2.3%)</c:v>
                </c:pt>
                <c:pt idx="1">
                  <c:v>Equate Speed 3 Disposable Razors 8 Pack (1.9%)</c:v>
                </c:pt>
                <c:pt idx="2">
                  <c:v>Equate Caliber 5 Disposable Razors 3 Pack (2.2%)</c:v>
                </c:pt>
                <c:pt idx="3">
                  <c:v>Equate Caliber 3 Disposable Razors 3 Pack (1.4%)</c:v>
                </c:pt>
                <c:pt idx="4">
                  <c:v>Equate 2 Blade Disposable Razors 12 Pack (5.7%)</c:v>
                </c:pt>
                <c:pt idx="5">
                  <c:v>Bic Men Sensitive Single Blade Disposable Razors 12 Pack (5.7%)</c:v>
                </c:pt>
                <c:pt idx="6">
                  <c:v>Equate 2 Blade Disposable Razors 5 Pack (5.5%)</c:v>
                </c:pt>
                <c:pt idx="7">
                  <c:v>Bic Comfort 3 Sensitive Skin Disposable Razors 4 Pack (2.0%)</c:v>
                </c:pt>
                <c:pt idx="8">
                  <c:v>None Razors (12.2%)</c:v>
                </c:pt>
                <c:pt idx="9">
                  <c:v>Schick Xtreme 3 Sensitive Disposable Razors 4 Pack (2.8%)</c:v>
                </c:pt>
              </c:strCache>
            </c:strRef>
          </c:cat>
          <c:val>
            <c:numRef>
              <c:f>Sheet1!$B$2:$B$11</c:f>
              <c:numCache>
                <c:formatCode>General</c:formatCode>
                <c:ptCount val="10"/>
                <c:pt idx="0">
                  <c:v>0.18733239095872958</c:v>
                </c:pt>
                <c:pt idx="1">
                  <c:v>0.12058217403655005</c:v>
                </c:pt>
                <c:pt idx="2">
                  <c:v>9.171697117601306E-2</c:v>
                </c:pt>
                <c:pt idx="3">
                  <c:v>8.627292343275221E-2</c:v>
                </c:pt>
                <c:pt idx="4">
                  <c:v>6.7795668443858828E-2</c:v>
                </c:pt>
                <c:pt idx="5">
                  <c:v>5.0717025378590866E-2</c:v>
                </c:pt>
                <c:pt idx="6">
                  <c:v>4.8773254993732633E-2</c:v>
                </c:pt>
                <c:pt idx="7">
                  <c:v>4.5873572272244673E-2</c:v>
                </c:pt>
                <c:pt idx="8">
                  <c:v>3.8627754381384008E-2</c:v>
                </c:pt>
                <c:pt idx="9">
                  <c:v>3.304956484342659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Caliber 3 Disposable Razor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Speed 3 Disposable Razors 4 Pack (2.3%)</c:v>
                </c:pt>
                <c:pt idx="1">
                  <c:v>Equate Speed 3 Disposable Razors 8 Pack (1.9%)</c:v>
                </c:pt>
                <c:pt idx="2">
                  <c:v>Equate Caliber 5 Disposable Razors 3 Pack (2.2%)</c:v>
                </c:pt>
                <c:pt idx="3">
                  <c:v>Equate Caliber 3 Disposable Razors 3 Pack (1.4%)</c:v>
                </c:pt>
                <c:pt idx="4">
                  <c:v>Schick Xtreme 3 Sensitive Disposable Razors 4 Pack (2.8%)</c:v>
                </c:pt>
                <c:pt idx="5">
                  <c:v>Equate 2 Blade Disposable Razors 12 Pack (5.7%)</c:v>
                </c:pt>
                <c:pt idx="6">
                  <c:v>Bic Comfort 3 Sensitive Skin Disposable Razors 4 Pack (2.0%)</c:v>
                </c:pt>
                <c:pt idx="7">
                  <c:v>Bic Men Sensitive Single Blade Disposable Razors 12 Pack (5.7%)</c:v>
                </c:pt>
                <c:pt idx="8">
                  <c:v>Schick Xtreme 2 Sensitive Disposable Razors 12 Pack (2.7%)</c:v>
                </c:pt>
                <c:pt idx="9">
                  <c:v>Gillette Mach 3 Sensitive Skin Disposable Razors 3 Pack (2.4%)</c:v>
                </c:pt>
              </c:strCache>
            </c:strRef>
          </c:cat>
          <c:val>
            <c:numRef>
              <c:f>Sheet1!$B$2:$B$11</c:f>
              <c:numCache>
                <c:formatCode>General</c:formatCode>
                <c:ptCount val="10"/>
                <c:pt idx="0">
                  <c:v>0.18217150298237886</c:v>
                </c:pt>
                <c:pt idx="1">
                  <c:v>0.1570824837435684</c:v>
                </c:pt>
                <c:pt idx="2">
                  <c:v>8.5432590504630618E-2</c:v>
                </c:pt>
                <c:pt idx="3">
                  <c:v>6.886940992372638E-2</c:v>
                </c:pt>
                <c:pt idx="4">
                  <c:v>5.6772170094176344E-2</c:v>
                </c:pt>
                <c:pt idx="5">
                  <c:v>4.2280639871096079E-2</c:v>
                </c:pt>
                <c:pt idx="6">
                  <c:v>3.9289382184848627E-2</c:v>
                </c:pt>
                <c:pt idx="7">
                  <c:v>3.8273186187728042E-2</c:v>
                </c:pt>
                <c:pt idx="8">
                  <c:v>3.2227660777751126E-2</c:v>
                </c:pt>
                <c:pt idx="9">
                  <c:v>3.091653093038108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7.17</c:v>
                </c:pt>
                <c:pt idx="1">
                  <c:v>7.37</c:v>
                </c:pt>
                <c:pt idx="2">
                  <c:v>7.57</c:v>
                </c:pt>
                <c:pt idx="3">
                  <c:v>7.77</c:v>
                </c:pt>
                <c:pt idx="4">
                  <c:v>7.97</c:v>
                </c:pt>
                <c:pt idx="5">
                  <c:v>8.17</c:v>
                </c:pt>
                <c:pt idx="6">
                  <c:v>8.37</c:v>
                </c:pt>
                <c:pt idx="7">
                  <c:v>8.57</c:v>
                </c:pt>
                <c:pt idx="8">
                  <c:v>8.77</c:v>
                </c:pt>
                <c:pt idx="9">
                  <c:v>8.97</c:v>
                </c:pt>
                <c:pt idx="10">
                  <c:v>9.17</c:v>
                </c:pt>
                <c:pt idx="11">
                  <c:v>9.37</c:v>
                </c:pt>
                <c:pt idx="12">
                  <c:v>9.57</c:v>
                </c:pt>
                <c:pt idx="13">
                  <c:v>9.77</c:v>
                </c:pt>
                <c:pt idx="14">
                  <c:v>9.97</c:v>
                </c:pt>
                <c:pt idx="15">
                  <c:v>10.17</c:v>
                </c:pt>
                <c:pt idx="16">
                  <c:v>10.37</c:v>
                </c:pt>
              </c:strCache>
            </c:strRef>
          </c:cat>
          <c:val>
            <c:numRef>
              <c:f>Sheet1!$B$2:$B$18</c:f>
              <c:numCache>
                <c:formatCode>General</c:formatCode>
                <c:ptCount val="17"/>
                <c:pt idx="0">
                  <c:v>120.49891342294426</c:v>
                </c:pt>
                <c:pt idx="1">
                  <c:v>116.79506325322532</c:v>
                </c:pt>
                <c:pt idx="2">
                  <c:v>113.36598384279361</c:v>
                </c:pt>
                <c:pt idx="3">
                  <c:v>110.18202939895852</c:v>
                </c:pt>
                <c:pt idx="4">
                  <c:v>107.21733071232971</c:v>
                </c:pt>
                <c:pt idx="5">
                  <c:v>103.76389102914419</c:v>
                </c:pt>
                <c:pt idx="6">
                  <c:v>100</c:v>
                </c:pt>
                <c:pt idx="7">
                  <c:v>96.615704340562374</c:v>
                </c:pt>
                <c:pt idx="8">
                  <c:v>93.552684510994695</c:v>
                </c:pt>
                <c:pt idx="9">
                  <c:v>90.763394777566575</c:v>
                </c:pt>
                <c:pt idx="10">
                  <c:v>89.453820094315319</c:v>
                </c:pt>
                <c:pt idx="11">
                  <c:v>88.187419197731671</c:v>
                </c:pt>
                <c:pt idx="12">
                  <c:v>86.961930069061694</c:v>
                </c:pt>
                <c:pt idx="13">
                  <c:v>85.775240529009437</c:v>
                </c:pt>
                <c:pt idx="14">
                  <c:v>84.625377047589055</c:v>
                </c:pt>
                <c:pt idx="15">
                  <c:v>81.527055040917432</c:v>
                </c:pt>
                <c:pt idx="16">
                  <c:v>78.77837210010682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7.17</c:v>
                </c:pt>
                <c:pt idx="1">
                  <c:v>7.37</c:v>
                </c:pt>
                <c:pt idx="2">
                  <c:v>7.57</c:v>
                </c:pt>
                <c:pt idx="3">
                  <c:v>7.77</c:v>
                </c:pt>
                <c:pt idx="4">
                  <c:v>7.97</c:v>
                </c:pt>
                <c:pt idx="5">
                  <c:v>8.17</c:v>
                </c:pt>
                <c:pt idx="6">
                  <c:v>8.37</c:v>
                </c:pt>
                <c:pt idx="7">
                  <c:v>8.57</c:v>
                </c:pt>
                <c:pt idx="8">
                  <c:v>8.77</c:v>
                </c:pt>
                <c:pt idx="9">
                  <c:v>8.97</c:v>
                </c:pt>
                <c:pt idx="10">
                  <c:v>9.17</c:v>
                </c:pt>
                <c:pt idx="11">
                  <c:v>9.37</c:v>
                </c:pt>
                <c:pt idx="12">
                  <c:v>9.57</c:v>
                </c:pt>
                <c:pt idx="13">
                  <c:v>9.77</c:v>
                </c:pt>
                <c:pt idx="14">
                  <c:v>9.97</c:v>
                </c:pt>
                <c:pt idx="15">
                  <c:v>10.17</c:v>
                </c:pt>
                <c:pt idx="16">
                  <c:v>10.37</c:v>
                </c:pt>
              </c:strCache>
            </c:strRef>
          </c:cat>
          <c:val>
            <c:numRef>
              <c:f>Sheet1!$C$2:$C$18</c:f>
              <c:numCache>
                <c:formatCode>General</c:formatCode>
                <c:ptCount val="17"/>
                <c:pt idx="0">
                  <c:v>103.28875417255345</c:v>
                </c:pt>
                <c:pt idx="1">
                  <c:v>102.89385136654181</c:v>
                </c:pt>
                <c:pt idx="2">
                  <c:v>102.57110874454507</c:v>
                </c:pt>
                <c:pt idx="3">
                  <c:v>102.31262206442106</c:v>
                </c:pt>
                <c:pt idx="4">
                  <c:v>102.11126233181334</c:v>
                </c:pt>
                <c:pt idx="5">
                  <c:v>101.29264354741237</c:v>
                </c:pt>
                <c:pt idx="6">
                  <c:v>100</c:v>
                </c:pt>
                <c:pt idx="7">
                  <c:v>98.916522121105956</c:v>
                </c:pt>
                <c:pt idx="8">
                  <c:v>98.008258280555495</c:v>
                </c:pt>
                <c:pt idx="9">
                  <c:v>97.247241509740462</c:v>
                </c:pt>
                <c:pt idx="10">
                  <c:v>97.971758441634606</c:v>
                </c:pt>
                <c:pt idx="11">
                  <c:v>98.682123420009177</c:v>
                </c:pt>
                <c:pt idx="12">
                  <c:v>99.37884340916149</c:v>
                </c:pt>
                <c:pt idx="13">
                  <c:v>100.06238413502034</c:v>
                </c:pt>
                <c:pt idx="14">
                  <c:v>100.73317466212642</c:v>
                </c:pt>
                <c:pt idx="15">
                  <c:v>98.987679980825448</c:v>
                </c:pt>
                <c:pt idx="16">
                  <c:v>97.52711663404541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7.17</c:v>
                </c:pt>
                <c:pt idx="1">
                  <c:v>7.37</c:v>
                </c:pt>
                <c:pt idx="2">
                  <c:v>7.57</c:v>
                </c:pt>
                <c:pt idx="3">
                  <c:v>7.77</c:v>
                </c:pt>
                <c:pt idx="4">
                  <c:v>7.97</c:v>
                </c:pt>
                <c:pt idx="5">
                  <c:v>8.17</c:v>
                </c:pt>
                <c:pt idx="6">
                  <c:v>8.37</c:v>
                </c:pt>
                <c:pt idx="7">
                  <c:v>8.57</c:v>
                </c:pt>
                <c:pt idx="8">
                  <c:v>8.77</c:v>
                </c:pt>
                <c:pt idx="9">
                  <c:v>8.97</c:v>
                </c:pt>
                <c:pt idx="10">
                  <c:v>9.17</c:v>
                </c:pt>
                <c:pt idx="11">
                  <c:v>9.37</c:v>
                </c:pt>
                <c:pt idx="12">
                  <c:v>9.57</c:v>
                </c:pt>
                <c:pt idx="13">
                  <c:v>9.77</c:v>
                </c:pt>
                <c:pt idx="14">
                  <c:v>9.97</c:v>
                </c:pt>
                <c:pt idx="15">
                  <c:v>10.17</c:v>
                </c:pt>
                <c:pt idx="16">
                  <c:v>10.37</c:v>
                </c:pt>
              </c:strCache>
            </c:strRef>
          </c:cat>
          <c:val>
            <c:numRef>
              <c:f>Sheet1!$D$2:$D$18</c:f>
              <c:numCache>
                <c:formatCode>General</c:formatCode>
                <c:ptCount val="17"/>
                <c:pt idx="0">
                  <c:v>74.249549197556689</c:v>
                </c:pt>
                <c:pt idx="1">
                  <c:v>79.438589332405556</c:v>
                </c:pt>
                <c:pt idx="2">
                  <c:v>84.358227514946023</c:v>
                </c:pt>
                <c:pt idx="3">
                  <c:v>89.037237865118499</c:v>
                </c:pt>
                <c:pt idx="4">
                  <c:v>93.500102236906343</c:v>
                </c:pt>
                <c:pt idx="5">
                  <c:v>97.126190802468017</c:v>
                </c:pt>
                <c:pt idx="6">
                  <c:v>100</c:v>
                </c:pt>
                <c:pt idx="7">
                  <c:v>102.79614029223387</c:v>
                </c:pt>
                <c:pt idx="8">
                  <c:v>105.5216781373111</c:v>
                </c:pt>
                <c:pt idx="9">
                  <c:v>108.18159874371554</c:v>
                </c:pt>
                <c:pt idx="10">
                  <c:v>112.34300190999431</c:v>
                </c:pt>
                <c:pt idx="11">
                  <c:v>116.39384277114841</c:v>
                </c:pt>
                <c:pt idx="12">
                  <c:v>120.33927649699154</c:v>
                </c:pt>
                <c:pt idx="13">
                  <c:v>124.18409639389721</c:v>
                </c:pt>
                <c:pt idx="14">
                  <c:v>127.93276491364945</c:v>
                </c:pt>
                <c:pt idx="15">
                  <c:v>128.46408985354003</c:v>
                </c:pt>
                <c:pt idx="16">
                  <c:v>129.1723206268826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7.17</c:v>
                </c:pt>
                <c:pt idx="1">
                  <c:v>7.37</c:v>
                </c:pt>
                <c:pt idx="2">
                  <c:v>7.57</c:v>
                </c:pt>
                <c:pt idx="3">
                  <c:v>7.77</c:v>
                </c:pt>
                <c:pt idx="4">
                  <c:v>7.97</c:v>
                </c:pt>
                <c:pt idx="5">
                  <c:v>8.17</c:v>
                </c:pt>
                <c:pt idx="6">
                  <c:v>8.37</c:v>
                </c:pt>
                <c:pt idx="7">
                  <c:v>8.57</c:v>
                </c:pt>
                <c:pt idx="8">
                  <c:v>8.77</c:v>
                </c:pt>
                <c:pt idx="9">
                  <c:v>8.97</c:v>
                </c:pt>
                <c:pt idx="10">
                  <c:v>9.17</c:v>
                </c:pt>
                <c:pt idx="11">
                  <c:v>9.37</c:v>
                </c:pt>
                <c:pt idx="12">
                  <c:v>9.57</c:v>
                </c:pt>
                <c:pt idx="13">
                  <c:v>9.77</c:v>
                </c:pt>
                <c:pt idx="14">
                  <c:v>9.97</c:v>
                </c:pt>
                <c:pt idx="15">
                  <c:v>10.17</c:v>
                </c:pt>
                <c:pt idx="16">
                  <c:v>10.37</c:v>
                </c:pt>
              </c:strCache>
            </c:strRef>
          </c:cat>
          <c:val>
            <c:numRef>
              <c:f>Sheet1!$E$2:$E$18</c:f>
              <c:numCache>
                <c:formatCode>General</c:formatCode>
                <c:ptCount val="17"/>
                <c:pt idx="0">
                  <c:v>0.26868915935818993</c:v>
                </c:pt>
                <c:pt idx="1">
                  <c:v>0.28853477240138692</c:v>
                </c:pt>
                <c:pt idx="2">
                  <c:v>0.30733174010544551</c:v>
                </c:pt>
                <c:pt idx="3">
                  <c:v>0.32516103894443005</c:v>
                </c:pt>
                <c:pt idx="4">
                  <c:v>0.3420955172645197</c:v>
                </c:pt>
                <c:pt idx="5">
                  <c:v>0.35820089015890122</c:v>
                </c:pt>
                <c:pt idx="6">
                  <c:v>0.37353659170827014</c:v>
                </c:pt>
                <c:pt idx="7">
                  <c:v>0.38815650788777384</c:v>
                </c:pt>
                <c:pt idx="8">
                  <c:v>0.40210960919021926</c:v>
                </c:pt>
                <c:pt idx="9">
                  <c:v>0.415440498617416</c:v>
                </c:pt>
                <c:pt idx="10">
                  <c:v>0.42818988796054763</c:v>
                </c:pt>
                <c:pt idx="11">
                  <c:v>0.44039501308412188</c:v>
                </c:pt>
                <c:pt idx="12">
                  <c:v>0.45208999713670023</c:v>
                </c:pt>
                <c:pt idx="13">
                  <c:v>0.4633061691502785</c:v>
                </c:pt>
                <c:pt idx="14">
                  <c:v>0.47407234429270023</c:v>
                </c:pt>
                <c:pt idx="15">
                  <c:v>0.48441507105193921</c:v>
                </c:pt>
                <c:pt idx="16">
                  <c:v>0.4943588498166076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Caliber 5 Disposable Razor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Caliber 5 Disposable Razors 3 Pack (2.2%)</c:v>
                </c:pt>
                <c:pt idx="1">
                  <c:v>Equate Speed 3 Disposable Razors 4 Pack (2.3%)</c:v>
                </c:pt>
                <c:pt idx="2">
                  <c:v>Equate Caliber 3 Disposable Razors 3 Pack (1.4%)</c:v>
                </c:pt>
                <c:pt idx="3">
                  <c:v>Equate Speed 3 Disposable Razors 8 Pack (1.9%)</c:v>
                </c:pt>
                <c:pt idx="4">
                  <c:v>Schick Xtreme 3 Sensitive Disposable Razors 4 Pack (2.8%)</c:v>
                </c:pt>
                <c:pt idx="5">
                  <c:v>Equate 2 Blade Disposable Razors 12 Pack (5.7%)</c:v>
                </c:pt>
                <c:pt idx="6">
                  <c:v>Bic Comfort 3 Sensitive Skin Disposable Razors 4 Pack (2.0%)</c:v>
                </c:pt>
                <c:pt idx="7">
                  <c:v>Bic Men Sensitive Single Blade Disposable Razors 12 Pack (5.7%)</c:v>
                </c:pt>
                <c:pt idx="8">
                  <c:v>Gillette Sensor 3 Sensitive Disposable Razors 4 Pack (2.3%)</c:v>
                </c:pt>
                <c:pt idx="9">
                  <c:v>Equate 2 Blade Disposable Razors 5 Pack (5.5%)</c:v>
                </c:pt>
              </c:strCache>
            </c:strRef>
          </c:cat>
          <c:val>
            <c:numRef>
              <c:f>Sheet1!$B$2:$B$11</c:f>
              <c:numCache>
                <c:formatCode>General</c:formatCode>
                <c:ptCount val="10"/>
                <c:pt idx="0">
                  <c:v>0.12621823620779338</c:v>
                </c:pt>
                <c:pt idx="1">
                  <c:v>7.1047829442002886E-2</c:v>
                </c:pt>
                <c:pt idx="2">
                  <c:v>6.3104116593779624E-2</c:v>
                </c:pt>
                <c:pt idx="3">
                  <c:v>6.1784518289148174E-2</c:v>
                </c:pt>
                <c:pt idx="4">
                  <c:v>6.0259546942520996E-2</c:v>
                </c:pt>
                <c:pt idx="5">
                  <c:v>4.3533121252621002E-2</c:v>
                </c:pt>
                <c:pt idx="6">
                  <c:v>4.3013293268263107E-2</c:v>
                </c:pt>
                <c:pt idx="7">
                  <c:v>3.9593082351233481E-2</c:v>
                </c:pt>
                <c:pt idx="8">
                  <c:v>3.8193018077726001E-2</c:v>
                </c:pt>
                <c:pt idx="9">
                  <c:v>3.647272659906222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Caliber 5 Disposable Razor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Caliber 5 Disposable Razors 3 Pack (2.2%)</c:v>
                </c:pt>
                <c:pt idx="1">
                  <c:v>Equate Speed 3 Disposable Razors 8 Pack (1.9%)</c:v>
                </c:pt>
                <c:pt idx="2">
                  <c:v>Equate Speed 3 Disposable Razors 4 Pack (2.3%)</c:v>
                </c:pt>
                <c:pt idx="3">
                  <c:v>Equate Caliber 3 Disposable Razors 3 Pack (1.4%)</c:v>
                </c:pt>
                <c:pt idx="4">
                  <c:v>Schick Xtreme 3 Sensitive Disposable Razors 4 Pack (2.8%)</c:v>
                </c:pt>
                <c:pt idx="5">
                  <c:v>Gillette Sensor 3 Sensitive Disposable Razors 4 Pack (2.3%)</c:v>
                </c:pt>
                <c:pt idx="6">
                  <c:v>Bic Comfort 3 Sensitive Skin Disposable Razors 4 Pack (2.0%)</c:v>
                </c:pt>
                <c:pt idx="7">
                  <c:v>Bic Men Sensitive Single Blade Disposable Razors 12 Pack (5.7%)</c:v>
                </c:pt>
                <c:pt idx="8">
                  <c:v>Gillette Mach 3 Sensitive Skin Disposable Razors 3 Pack (2.4%)</c:v>
                </c:pt>
                <c:pt idx="9">
                  <c:v>None Razors (12.2%)</c:v>
                </c:pt>
              </c:strCache>
            </c:strRef>
          </c:cat>
          <c:val>
            <c:numRef>
              <c:f>Sheet1!$B$2:$B$11</c:f>
              <c:numCache>
                <c:formatCode>General</c:formatCode>
                <c:ptCount val="10"/>
                <c:pt idx="0">
                  <c:v>0.13069380763114927</c:v>
                </c:pt>
                <c:pt idx="1">
                  <c:v>6.2458980472575393E-2</c:v>
                </c:pt>
                <c:pt idx="2">
                  <c:v>5.9186915405344133E-2</c:v>
                </c:pt>
                <c:pt idx="3">
                  <c:v>5.3864066477484575E-2</c:v>
                </c:pt>
                <c:pt idx="4">
                  <c:v>5.0584301938238818E-2</c:v>
                </c:pt>
                <c:pt idx="5">
                  <c:v>4.7911619850479495E-2</c:v>
                </c:pt>
                <c:pt idx="6">
                  <c:v>4.2051363567085498E-2</c:v>
                </c:pt>
                <c:pt idx="7">
                  <c:v>4.1670406827336762E-2</c:v>
                </c:pt>
                <c:pt idx="8">
                  <c:v>3.9820461282391632E-2</c:v>
                </c:pt>
                <c:pt idx="9">
                  <c:v>3.394153237020760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Caliber 3 Disposable Razors 3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47</c:v>
                </c:pt>
                <c:pt idx="1">
                  <c:v>3.77</c:v>
                </c:pt>
                <c:pt idx="2">
                  <c:v>4.17</c:v>
                </c:pt>
                <c:pt idx="3">
                  <c:v>4.57</c:v>
                </c:pt>
                <c:pt idx="4">
                  <c:v>4.9700000000000006</c:v>
                </c:pt>
              </c:numCache>
            </c:numRef>
          </c:xVal>
          <c:yVal>
            <c:numRef>
              <c:f>Sheet1!$B$2:$B$6</c:f>
              <c:numCache>
                <c:formatCode>General</c:formatCode>
                <c:ptCount val="5"/>
                <c:pt idx="0">
                  <c:v>5.5047668134249071E-2</c:v>
                </c:pt>
                <c:pt idx="1">
                  <c:v>2.3351296320017225E-2</c:v>
                </c:pt>
                <c:pt idx="2">
                  <c:v>0</c:v>
                </c:pt>
                <c:pt idx="3">
                  <c:v>-2.2413866256818418E-2</c:v>
                </c:pt>
                <c:pt idx="4">
                  <c:v>-7.4925271035493748E-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Equate Caliber 5 Disposable Razors 3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4.57</c:v>
                </c:pt>
                <c:pt idx="1">
                  <c:v>4.87</c:v>
                </c:pt>
                <c:pt idx="2">
                  <c:v>5.47</c:v>
                </c:pt>
                <c:pt idx="3">
                  <c:v>5.9700000000000006</c:v>
                </c:pt>
                <c:pt idx="4">
                  <c:v>6.7700000000000005</c:v>
                </c:pt>
              </c:numCache>
            </c:numRef>
          </c:xVal>
          <c:yVal>
            <c:numRef>
              <c:f>Sheet1!$B$9:$B$13</c:f>
              <c:numCache>
                <c:formatCode>General</c:formatCode>
                <c:ptCount val="5"/>
                <c:pt idx="0">
                  <c:v>0.13078965723388702</c:v>
                </c:pt>
                <c:pt idx="1">
                  <c:v>8.4793953835087865E-2</c:v>
                </c:pt>
                <c:pt idx="2">
                  <c:v>0</c:v>
                </c:pt>
                <c:pt idx="3">
                  <c:v>-0.11760963731333028</c:v>
                </c:pt>
                <c:pt idx="4">
                  <c:v>-0.3351125044391905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6.7700000000000005"/>
          <c:min val="3.47"/>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9</c:f>
              <c:strCache>
                <c:ptCount val="8"/>
                <c:pt idx="0">
                  <c:v>3.57</c:v>
                </c:pt>
                <c:pt idx="1">
                  <c:v>3.77</c:v>
                </c:pt>
                <c:pt idx="2">
                  <c:v>3.97</c:v>
                </c:pt>
                <c:pt idx="3">
                  <c:v>4.17</c:v>
                </c:pt>
                <c:pt idx="4">
                  <c:v>4.37</c:v>
                </c:pt>
                <c:pt idx="5">
                  <c:v>4.57</c:v>
                </c:pt>
                <c:pt idx="6">
                  <c:v>4.77</c:v>
                </c:pt>
                <c:pt idx="7">
                  <c:v>4.97</c:v>
                </c:pt>
              </c:strCache>
            </c:strRef>
          </c:cat>
          <c:val>
            <c:numRef>
              <c:f>Sheet1!$B$2:$B$9</c:f>
              <c:numCache>
                <c:formatCode>General</c:formatCode>
                <c:ptCount val="8"/>
                <c:pt idx="0">
                  <c:v>104.43126683174297</c:v>
                </c:pt>
                <c:pt idx="1">
                  <c:v>102.33512963200175</c:v>
                </c:pt>
                <c:pt idx="2">
                  <c:v>101.15545421341909</c:v>
                </c:pt>
                <c:pt idx="3">
                  <c:v>100</c:v>
                </c:pt>
                <c:pt idx="4">
                  <c:v>98.867972816057744</c:v>
                </c:pt>
                <c:pt idx="5">
                  <c:v>97.758613374318131</c:v>
                </c:pt>
                <c:pt idx="6">
                  <c:v>95.088535684253543</c:v>
                </c:pt>
                <c:pt idx="7">
                  <c:v>92.50747289645066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9</c:f>
              <c:strCache>
                <c:ptCount val="8"/>
                <c:pt idx="0">
                  <c:v>3.57</c:v>
                </c:pt>
                <c:pt idx="1">
                  <c:v>3.77</c:v>
                </c:pt>
                <c:pt idx="2">
                  <c:v>3.97</c:v>
                </c:pt>
                <c:pt idx="3">
                  <c:v>4.17</c:v>
                </c:pt>
                <c:pt idx="4">
                  <c:v>4.37</c:v>
                </c:pt>
                <c:pt idx="5">
                  <c:v>4.57</c:v>
                </c:pt>
                <c:pt idx="6">
                  <c:v>4.77</c:v>
                </c:pt>
                <c:pt idx="7">
                  <c:v>4.97</c:v>
                </c:pt>
              </c:strCache>
            </c:strRef>
          </c:cat>
          <c:val>
            <c:numRef>
              <c:f>Sheet1!$C$2:$C$9</c:f>
              <c:numCache>
                <c:formatCode>General</c:formatCode>
                <c:ptCount val="8"/>
                <c:pt idx="0">
                  <c:v>89.515002062326246</c:v>
                </c:pt>
                <c:pt idx="1">
                  <c:v>92.591269803660268</c:v>
                </c:pt>
                <c:pt idx="2">
                  <c:v>96.341137400990505</c:v>
                </c:pt>
                <c:pt idx="3">
                  <c:v>100</c:v>
                </c:pt>
                <c:pt idx="4">
                  <c:v>103.57068515487842</c:v>
                </c:pt>
                <c:pt idx="5">
                  <c:v>107.05589474016277</c:v>
                </c:pt>
                <c:pt idx="6">
                  <c:v>108.649154298686</c:v>
                </c:pt>
                <c:pt idx="7">
                  <c:v>110.093529220904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9</c:f>
              <c:strCache>
                <c:ptCount val="8"/>
                <c:pt idx="0">
                  <c:v>3.57</c:v>
                </c:pt>
                <c:pt idx="1">
                  <c:v>3.77</c:v>
                </c:pt>
                <c:pt idx="2">
                  <c:v>3.97</c:v>
                </c:pt>
                <c:pt idx="3">
                  <c:v>4.17</c:v>
                </c:pt>
                <c:pt idx="4">
                  <c:v>4.37</c:v>
                </c:pt>
                <c:pt idx="5">
                  <c:v>4.57</c:v>
                </c:pt>
                <c:pt idx="6">
                  <c:v>4.77</c:v>
                </c:pt>
                <c:pt idx="7">
                  <c:v>4.97</c:v>
                </c:pt>
              </c:strCache>
            </c:strRef>
          </c:cat>
          <c:val>
            <c:numRef>
              <c:f>Sheet1!$D$2:$D$9</c:f>
              <c:numCache>
                <c:formatCode>General</c:formatCode>
                <c:ptCount val="8"/>
                <c:pt idx="0">
                  <c:v>74.092455177006926</c:v>
                </c:pt>
                <c:pt idx="1">
                  <c:v>82.515227555033704</c:v>
                </c:pt>
                <c:pt idx="2">
                  <c:v>91.359740833904112</c:v>
                </c:pt>
                <c:pt idx="3">
                  <c:v>100</c:v>
                </c:pt>
                <c:pt idx="4">
                  <c:v>108.44217058572477</c:v>
                </c:pt>
                <c:pt idx="5">
                  <c:v>116.6921521427418</c:v>
                </c:pt>
                <c:pt idx="6">
                  <c:v>122.71314718396124</c:v>
                </c:pt>
                <c:pt idx="7">
                  <c:v>128.3405062016053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9</c:f>
              <c:strCache>
                <c:ptCount val="8"/>
                <c:pt idx="0">
                  <c:v>3.57</c:v>
                </c:pt>
                <c:pt idx="1">
                  <c:v>3.77</c:v>
                </c:pt>
                <c:pt idx="2">
                  <c:v>3.97</c:v>
                </c:pt>
                <c:pt idx="3">
                  <c:v>4.17</c:v>
                </c:pt>
                <c:pt idx="4">
                  <c:v>4.37</c:v>
                </c:pt>
                <c:pt idx="5">
                  <c:v>4.57</c:v>
                </c:pt>
                <c:pt idx="6">
                  <c:v>4.77</c:v>
                </c:pt>
                <c:pt idx="7">
                  <c:v>4.97</c:v>
                </c:pt>
              </c:strCache>
            </c:strRef>
          </c:cat>
          <c:val>
            <c:numRef>
              <c:f>Sheet1!$E$2:$E$9</c:f>
              <c:numCache>
                <c:formatCode>General</c:formatCode>
                <c:ptCount val="8"/>
                <c:pt idx="0">
                  <c:v>0.41044829365237606</c:v>
                </c:pt>
                <c:pt idx="1">
                  <c:v>0.44172424624376205</c:v>
                </c:pt>
                <c:pt idx="2">
                  <c:v>0.4698489693549075</c:v>
                </c:pt>
                <c:pt idx="3">
                  <c:v>0.49527587729951628</c:v>
                </c:pt>
                <c:pt idx="4">
                  <c:v>0.51837537948260481</c:v>
                </c:pt>
                <c:pt idx="5">
                  <c:v>0.53945304340021516</c:v>
                </c:pt>
                <c:pt idx="6">
                  <c:v>0.55876318833102356</c:v>
                </c:pt>
                <c:pt idx="7">
                  <c:v>0.5765191968488898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ic (16.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quate (21.7%)</c:v>
                </c:pt>
                <c:pt idx="1">
                  <c:v>Gillette (38.7%)</c:v>
                </c:pt>
                <c:pt idx="2">
                  <c:v>Schick (11.2%)</c:v>
                </c:pt>
                <c:pt idx="3">
                  <c:v>Harrys (11.2%)</c:v>
                </c:pt>
                <c:pt idx="4">
                  <c:v>Dollar Shave Club (2.9%)</c:v>
                </c:pt>
                <c:pt idx="5">
                  <c:v>Van Der Hagen (2.0%)</c:v>
                </c:pt>
              </c:strCache>
            </c:strRef>
          </c:cat>
          <c:val>
            <c:numRef>
              <c:f>Sheet1!$B$2:$B$7</c:f>
              <c:numCache>
                <c:formatCode>General</c:formatCode>
                <c:ptCount val="6"/>
                <c:pt idx="0">
                  <c:v>0.4362664045057848</c:v>
                </c:pt>
                <c:pt idx="1">
                  <c:v>0.28372957705745999</c:v>
                </c:pt>
                <c:pt idx="2">
                  <c:v>0.17161966354073946</c:v>
                </c:pt>
                <c:pt idx="3">
                  <c:v>3.3458336181336E-2</c:v>
                </c:pt>
                <c:pt idx="4">
                  <c:v>3.0834187541114992E-2</c:v>
                </c:pt>
                <c:pt idx="5">
                  <c:v>1.135416514074110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Caliber 3 Disposable Razors 3 Pack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Equate Caliber 5 Disposable Razors 3 Pack (2.2%)</c:v>
                </c:pt>
                <c:pt idx="2">
                  <c:v>Equate Speed 3 Disposable Razors 4 Pack (2.3%)</c:v>
                </c:pt>
                <c:pt idx="3">
                  <c:v>Equate 2 Blade Disposable Razors 5 Pack (5.5%)</c:v>
                </c:pt>
                <c:pt idx="4">
                  <c:v>Bic Men Sensitive Single Blade Disposable Razors 12 Pack (5.7%)</c:v>
                </c:pt>
                <c:pt idx="5">
                  <c:v>Equate Speed 3 Disposable Razors 8 Pack (1.9%)</c:v>
                </c:pt>
                <c:pt idx="6">
                  <c:v>Schick Xtreme 3 Sensitive Disposable Razors 4 Pack (2.8%)</c:v>
                </c:pt>
                <c:pt idx="7">
                  <c:v>Schick Xtreme 2 Sensitive Disposable Razors 12 Pack (2.7%)</c:v>
                </c:pt>
                <c:pt idx="8">
                  <c:v>None Razors (12.2%)</c:v>
                </c:pt>
                <c:pt idx="9">
                  <c:v>Bic Comfort 3 Sensitive Skin Disposable Razors 4 Pack (2.0%)</c:v>
                </c:pt>
              </c:strCache>
            </c:strRef>
          </c:cat>
          <c:val>
            <c:numRef>
              <c:f>Sheet1!$B$2:$B$11</c:f>
              <c:numCache>
                <c:formatCode>General</c:formatCode>
                <c:ptCount val="10"/>
                <c:pt idx="0">
                  <c:v>0.11114147622859587</c:v>
                </c:pt>
                <c:pt idx="1">
                  <c:v>0.10632993129207134</c:v>
                </c:pt>
                <c:pt idx="2">
                  <c:v>0.10564262116947337</c:v>
                </c:pt>
                <c:pt idx="3">
                  <c:v>8.3286234656529443E-2</c:v>
                </c:pt>
                <c:pt idx="4">
                  <c:v>5.5236053333379581E-2</c:v>
                </c:pt>
                <c:pt idx="5">
                  <c:v>5.1970991720934709E-2</c:v>
                </c:pt>
                <c:pt idx="6">
                  <c:v>5.1830779304015015E-2</c:v>
                </c:pt>
                <c:pt idx="7">
                  <c:v>3.8270500855256462E-2</c:v>
                </c:pt>
                <c:pt idx="8">
                  <c:v>3.7099373299359237E-2</c:v>
                </c:pt>
                <c:pt idx="9">
                  <c:v>3.702854564408395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Caliber 3 Disposable Razors 3 Pack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Speed 3 Disposable Razors 4 Pack (2.3%)</c:v>
                </c:pt>
                <c:pt idx="1">
                  <c:v>Equate Caliber 5 Disposable Razors 3 Pack (2.2%)</c:v>
                </c:pt>
                <c:pt idx="2">
                  <c:v>Equate 2 Blade Disposable Razors 12 Pack (5.7%)</c:v>
                </c:pt>
                <c:pt idx="3">
                  <c:v>Equate 2 Blade Disposable Razors 5 Pack (5.5%)</c:v>
                </c:pt>
                <c:pt idx="4">
                  <c:v>Bic Men Sensitive Single Blade Disposable Razors 12 Pack (5.7%)</c:v>
                </c:pt>
                <c:pt idx="5">
                  <c:v>Schick Xtreme 3 Sensitive Disposable Razors 4 Pack (2.8%)</c:v>
                </c:pt>
                <c:pt idx="6">
                  <c:v>Equate Speed 3 Disposable Razors 8 Pack (1.9%)</c:v>
                </c:pt>
                <c:pt idx="7">
                  <c:v>Bic Comfort 3 Sensitive Skin Disposable Razors 4 Pack (2.0%)</c:v>
                </c:pt>
                <c:pt idx="8">
                  <c:v>Schick Xtreme 2 Sensitive Disposable Razors 12 Pack (2.7%)</c:v>
                </c:pt>
                <c:pt idx="9">
                  <c:v>None Razors (12.2%)</c:v>
                </c:pt>
              </c:strCache>
            </c:strRef>
          </c:cat>
          <c:val>
            <c:numRef>
              <c:f>Sheet1!$B$2:$B$11</c:f>
              <c:numCache>
                <c:formatCode>General</c:formatCode>
                <c:ptCount val="10"/>
                <c:pt idx="0">
                  <c:v>0.13026380246989816</c:v>
                </c:pt>
                <c:pt idx="1">
                  <c:v>0.12806130388756026</c:v>
                </c:pt>
                <c:pt idx="2">
                  <c:v>0.10627957739696624</c:v>
                </c:pt>
                <c:pt idx="3">
                  <c:v>8.3981361928671588E-2</c:v>
                </c:pt>
                <c:pt idx="4">
                  <c:v>5.3709987366694557E-2</c:v>
                </c:pt>
                <c:pt idx="5">
                  <c:v>5.3585559078084474E-2</c:v>
                </c:pt>
                <c:pt idx="6">
                  <c:v>4.8430282746232657E-2</c:v>
                </c:pt>
                <c:pt idx="7">
                  <c:v>4.4376757351234093E-2</c:v>
                </c:pt>
                <c:pt idx="8">
                  <c:v>3.7553164016472081E-2</c:v>
                </c:pt>
                <c:pt idx="9">
                  <c:v>2.928946990626658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2</c:f>
              <c:strCache>
                <c:ptCount val="11"/>
                <c:pt idx="0">
                  <c:v>4.67</c:v>
                </c:pt>
                <c:pt idx="1">
                  <c:v>4.87</c:v>
                </c:pt>
                <c:pt idx="2">
                  <c:v>5.07</c:v>
                </c:pt>
                <c:pt idx="3">
                  <c:v>5.27</c:v>
                </c:pt>
                <c:pt idx="4">
                  <c:v>5.47</c:v>
                </c:pt>
                <c:pt idx="5">
                  <c:v>5.67</c:v>
                </c:pt>
                <c:pt idx="6">
                  <c:v>5.87</c:v>
                </c:pt>
                <c:pt idx="7">
                  <c:v>6.07</c:v>
                </c:pt>
                <c:pt idx="8">
                  <c:v>6.27</c:v>
                </c:pt>
                <c:pt idx="9">
                  <c:v>6.47</c:v>
                </c:pt>
                <c:pt idx="10">
                  <c:v>6.67</c:v>
                </c:pt>
              </c:strCache>
            </c:strRef>
          </c:cat>
          <c:val>
            <c:numRef>
              <c:f>Sheet1!$B$2:$B$12</c:f>
              <c:numCache>
                <c:formatCode>General</c:formatCode>
                <c:ptCount val="11"/>
                <c:pt idx="0">
                  <c:v>111.51760915153864</c:v>
                </c:pt>
                <c:pt idx="1">
                  <c:v>108.47939538350889</c:v>
                </c:pt>
                <c:pt idx="2">
                  <c:v>105.54999886329963</c:v>
                </c:pt>
                <c:pt idx="3">
                  <c:v>102.7249604875911</c:v>
                </c:pt>
                <c:pt idx="4">
                  <c:v>100</c:v>
                </c:pt>
                <c:pt idx="5">
                  <c:v>95.00117574145456</c:v>
                </c:pt>
                <c:pt idx="6">
                  <c:v>90.399777809525631</c:v>
                </c:pt>
                <c:pt idx="7">
                  <c:v>86.16664150939576</c:v>
                </c:pt>
                <c:pt idx="8">
                  <c:v>82.272003656382623</c:v>
                </c:pt>
                <c:pt idx="9">
                  <c:v>78.68652278149591</c:v>
                </c:pt>
                <c:pt idx="10">
                  <c:v>70.12771850230517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2</c:f>
              <c:strCache>
                <c:ptCount val="11"/>
                <c:pt idx="0">
                  <c:v>4.67</c:v>
                </c:pt>
                <c:pt idx="1">
                  <c:v>4.87</c:v>
                </c:pt>
                <c:pt idx="2">
                  <c:v>5.07</c:v>
                </c:pt>
                <c:pt idx="3">
                  <c:v>5.27</c:v>
                </c:pt>
                <c:pt idx="4">
                  <c:v>5.47</c:v>
                </c:pt>
                <c:pt idx="5">
                  <c:v>5.67</c:v>
                </c:pt>
                <c:pt idx="6">
                  <c:v>5.87</c:v>
                </c:pt>
                <c:pt idx="7">
                  <c:v>6.07</c:v>
                </c:pt>
                <c:pt idx="8">
                  <c:v>6.27</c:v>
                </c:pt>
                <c:pt idx="9">
                  <c:v>6.47</c:v>
                </c:pt>
                <c:pt idx="10">
                  <c:v>6.67</c:v>
                </c:pt>
              </c:strCache>
            </c:strRef>
          </c:cat>
          <c:val>
            <c:numRef>
              <c:f>Sheet1!$C$2:$C$12</c:f>
              <c:numCache>
                <c:formatCode>General</c:formatCode>
                <c:ptCount val="11"/>
                <c:pt idx="0">
                  <c:v>95.457807445760452</c:v>
                </c:pt>
                <c:pt idx="1">
                  <c:v>96.765361366328378</c:v>
                </c:pt>
                <c:pt idx="2">
                  <c:v>97.953112405487445</c:v>
                </c:pt>
                <c:pt idx="3">
                  <c:v>99.028887795487137</c:v>
                </c:pt>
                <c:pt idx="4">
                  <c:v>100</c:v>
                </c:pt>
                <c:pt idx="5">
                  <c:v>98.432936386168109</c:v>
                </c:pt>
                <c:pt idx="6">
                  <c:v>96.931443289182724</c:v>
                </c:pt>
                <c:pt idx="7">
                  <c:v>95.506082056304891</c:v>
                </c:pt>
                <c:pt idx="8">
                  <c:v>94.162550328941236</c:v>
                </c:pt>
                <c:pt idx="9">
                  <c:v>92.902776157821847</c:v>
                </c:pt>
                <c:pt idx="10">
                  <c:v>85.3513754163297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2</c:f>
              <c:strCache>
                <c:ptCount val="11"/>
                <c:pt idx="0">
                  <c:v>4.67</c:v>
                </c:pt>
                <c:pt idx="1">
                  <c:v>4.87</c:v>
                </c:pt>
                <c:pt idx="2">
                  <c:v>5.07</c:v>
                </c:pt>
                <c:pt idx="3">
                  <c:v>5.27</c:v>
                </c:pt>
                <c:pt idx="4">
                  <c:v>5.47</c:v>
                </c:pt>
                <c:pt idx="5">
                  <c:v>5.67</c:v>
                </c:pt>
                <c:pt idx="6">
                  <c:v>5.87</c:v>
                </c:pt>
                <c:pt idx="7">
                  <c:v>6.07</c:v>
                </c:pt>
                <c:pt idx="8">
                  <c:v>6.27</c:v>
                </c:pt>
                <c:pt idx="9">
                  <c:v>6.47</c:v>
                </c:pt>
                <c:pt idx="10">
                  <c:v>6.67</c:v>
                </c:pt>
              </c:strCache>
            </c:strRef>
          </c:cat>
          <c:val>
            <c:numRef>
              <c:f>Sheet1!$D$2:$D$12</c:f>
              <c:numCache>
                <c:formatCode>General</c:formatCode>
                <c:ptCount val="11"/>
                <c:pt idx="0">
                  <c:v>78.192503922623317</c:v>
                </c:pt>
                <c:pt idx="1">
                  <c:v>84.166504617898326</c:v>
                </c:pt>
                <c:pt idx="2">
                  <c:v>89.779104715759388</c:v>
                </c:pt>
                <c:pt idx="3">
                  <c:v>95.050566856103458</c:v>
                </c:pt>
                <c:pt idx="4">
                  <c:v>100</c:v>
                </c:pt>
                <c:pt idx="5">
                  <c:v>102.098539562608</c:v>
                </c:pt>
                <c:pt idx="6">
                  <c:v>103.90698143007337</c:v>
                </c:pt>
                <c:pt idx="7">
                  <c:v>105.47869736342321</c:v>
                </c:pt>
                <c:pt idx="8">
                  <c:v>106.85756642178399</c:v>
                </c:pt>
                <c:pt idx="9">
                  <c:v>108.07915269597311</c:v>
                </c:pt>
                <c:pt idx="10">
                  <c:v>101.56239885907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2</c:f>
              <c:strCache>
                <c:ptCount val="11"/>
                <c:pt idx="0">
                  <c:v>4.67</c:v>
                </c:pt>
                <c:pt idx="1">
                  <c:v>4.87</c:v>
                </c:pt>
                <c:pt idx="2">
                  <c:v>5.07</c:v>
                </c:pt>
                <c:pt idx="3">
                  <c:v>5.27</c:v>
                </c:pt>
                <c:pt idx="4">
                  <c:v>5.47</c:v>
                </c:pt>
                <c:pt idx="5">
                  <c:v>5.67</c:v>
                </c:pt>
                <c:pt idx="6">
                  <c:v>5.87</c:v>
                </c:pt>
                <c:pt idx="7">
                  <c:v>6.07</c:v>
                </c:pt>
                <c:pt idx="8">
                  <c:v>6.27</c:v>
                </c:pt>
                <c:pt idx="9">
                  <c:v>6.47</c:v>
                </c:pt>
                <c:pt idx="10">
                  <c:v>6.67</c:v>
                </c:pt>
              </c:strCache>
            </c:strRef>
          </c:cat>
          <c:val>
            <c:numRef>
              <c:f>Sheet1!$E$2:$E$12</c:f>
              <c:numCache>
                <c:formatCode>General</c:formatCode>
                <c:ptCount val="11"/>
                <c:pt idx="0">
                  <c:v>0.40194506194842761</c:v>
                </c:pt>
                <c:pt idx="1">
                  <c:v>0.42650583969181866</c:v>
                </c:pt>
                <c:pt idx="2">
                  <c:v>0.44912888349095786</c:v>
                </c:pt>
                <c:pt idx="3">
                  <c:v>0.47003480821615867</c:v>
                </c:pt>
                <c:pt idx="4">
                  <c:v>0.48941196330880382</c:v>
                </c:pt>
                <c:pt idx="5">
                  <c:v>0.50742212333318459</c:v>
                </c:pt>
                <c:pt idx="6">
                  <c:v>0.52420501521280349</c:v>
                </c:pt>
                <c:pt idx="7">
                  <c:v>0.53988195046114607</c:v>
                </c:pt>
                <c:pt idx="8">
                  <c:v>0.55455876224866929</c:v>
                </c:pt>
                <c:pt idx="9">
                  <c:v>0.56832819772784493</c:v>
                </c:pt>
                <c:pt idx="10">
                  <c:v>0.5812718799548959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Caliber 5 Disposable Razors 3 Pack (2.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Caliber 3 Disposable Razors 3 Pack (1.4%)</c:v>
                </c:pt>
                <c:pt idx="1">
                  <c:v>Equate Speed 3 Disposable Razors 4 Pack (2.3%)</c:v>
                </c:pt>
                <c:pt idx="2">
                  <c:v>Equate 2 Blade Disposable Razors 12 Pack (5.7%)</c:v>
                </c:pt>
                <c:pt idx="3">
                  <c:v>None Razors (12.2%)</c:v>
                </c:pt>
                <c:pt idx="4">
                  <c:v>Equate 2 Blade Disposable Razors 5 Pack (5.5%)</c:v>
                </c:pt>
                <c:pt idx="5">
                  <c:v>Schick Xtreme 3 Sensitive Disposable Razors 4 Pack (2.8%)</c:v>
                </c:pt>
                <c:pt idx="6">
                  <c:v>Bic Men Sensitive Single Blade Disposable Razors 12 Pack (5.7%)</c:v>
                </c:pt>
                <c:pt idx="7">
                  <c:v>Equate Speed 3 Disposable Razors 8 Pack (1.9%)</c:v>
                </c:pt>
                <c:pt idx="8">
                  <c:v>Schick Xtreme 2 Sensitive Disposable Razors 12 Pack (2.7%)</c:v>
                </c:pt>
                <c:pt idx="9">
                  <c:v>Equate Easy Fit 5 blades 1 Handle + 2 Cartridges (1.1%)</c:v>
                </c:pt>
              </c:strCache>
            </c:strRef>
          </c:cat>
          <c:val>
            <c:numRef>
              <c:f>Sheet1!$B$2:$B$11</c:f>
              <c:numCache>
                <c:formatCode>General</c:formatCode>
                <c:ptCount val="10"/>
                <c:pt idx="0">
                  <c:v>9.2284743779904588E-2</c:v>
                </c:pt>
                <c:pt idx="1">
                  <c:v>8.5792725968868375E-2</c:v>
                </c:pt>
                <c:pt idx="2">
                  <c:v>7.3089182648919601E-2</c:v>
                </c:pt>
                <c:pt idx="3">
                  <c:v>6.5896062234363562E-2</c:v>
                </c:pt>
                <c:pt idx="4">
                  <c:v>6.3740488367747608E-2</c:v>
                </c:pt>
                <c:pt idx="5">
                  <c:v>5.907647431252936E-2</c:v>
                </c:pt>
                <c:pt idx="6">
                  <c:v>4.9682341846745838E-2</c:v>
                </c:pt>
                <c:pt idx="7">
                  <c:v>4.2927811000850982E-2</c:v>
                </c:pt>
                <c:pt idx="8">
                  <c:v>4.1742103531088731E-2</c:v>
                </c:pt>
                <c:pt idx="9">
                  <c:v>3.593583473712418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Caliber 5 Disposable Razors 3 Pack (2.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Caliber 3 Disposable Razors 3 Pack (1.4%)</c:v>
                </c:pt>
                <c:pt idx="1">
                  <c:v>Equate Speed 3 Disposable Razors 4 Pack (2.3%)</c:v>
                </c:pt>
                <c:pt idx="2">
                  <c:v>Equate 2 Blade Disposable Razors 12 Pack (5.7%)</c:v>
                </c:pt>
                <c:pt idx="3">
                  <c:v>Equate 2 Blade Disposable Razors 5 Pack (5.5%)</c:v>
                </c:pt>
                <c:pt idx="4">
                  <c:v>Bic Men Sensitive Single Blade Disposable Razors 12 Pack (5.7%)</c:v>
                </c:pt>
                <c:pt idx="5">
                  <c:v>Equate Speed 3 Disposable Razors 8 Pack (1.9%)</c:v>
                </c:pt>
                <c:pt idx="6">
                  <c:v>Bic Comfort 3 Sensitive Skin Disposable Razors 4 Pack (2.0%)</c:v>
                </c:pt>
                <c:pt idx="7">
                  <c:v>None Razors (12.2%)</c:v>
                </c:pt>
                <c:pt idx="8">
                  <c:v>Equate Easy Fit 5 blades 1 Handle + 2 Cartridges (1.1%)</c:v>
                </c:pt>
                <c:pt idx="9">
                  <c:v>Bic 3 Sensitive Disposable Razors 5 Pack (1.9%)</c:v>
                </c:pt>
              </c:strCache>
            </c:strRef>
          </c:cat>
          <c:val>
            <c:numRef>
              <c:f>Sheet1!$B$2:$B$11</c:f>
              <c:numCache>
                <c:formatCode>General</c:formatCode>
                <c:ptCount val="10"/>
                <c:pt idx="0">
                  <c:v>0.18055613799599829</c:v>
                </c:pt>
                <c:pt idx="1">
                  <c:v>0.12163128613948623</c:v>
                </c:pt>
                <c:pt idx="2">
                  <c:v>8.966782278792286E-2</c:v>
                </c:pt>
                <c:pt idx="3">
                  <c:v>7.8683261528813039E-2</c:v>
                </c:pt>
                <c:pt idx="4">
                  <c:v>7.7951230674718458E-2</c:v>
                </c:pt>
                <c:pt idx="5">
                  <c:v>5.6949975843400724E-2</c:v>
                </c:pt>
                <c:pt idx="6">
                  <c:v>5.0059278362882563E-2</c:v>
                </c:pt>
                <c:pt idx="7">
                  <c:v>4.7705063298869234E-2</c:v>
                </c:pt>
                <c:pt idx="8">
                  <c:v>3.4523832964590218E-2</c:v>
                </c:pt>
                <c:pt idx="9">
                  <c:v>3.140729986174214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Speed 3 Disposable Razors 4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37</c:v>
                </c:pt>
                <c:pt idx="1">
                  <c:v>3.57</c:v>
                </c:pt>
                <c:pt idx="2">
                  <c:v>3.97</c:v>
                </c:pt>
                <c:pt idx="3">
                  <c:v>4.37</c:v>
                </c:pt>
                <c:pt idx="4">
                  <c:v>4.9700000000000006</c:v>
                </c:pt>
              </c:numCache>
            </c:numRef>
          </c:xVal>
          <c:yVal>
            <c:numRef>
              <c:f>Sheet1!$B$2:$B$6</c:f>
              <c:numCache>
                <c:formatCode>General</c:formatCode>
                <c:ptCount val="5"/>
                <c:pt idx="0">
                  <c:v>6.2605630913542487E-2</c:v>
                </c:pt>
                <c:pt idx="1">
                  <c:v>3.7834587491796745E-2</c:v>
                </c:pt>
                <c:pt idx="2">
                  <c:v>0</c:v>
                </c:pt>
                <c:pt idx="3">
                  <c:v>-2.6871966219361842E-2</c:v>
                </c:pt>
                <c:pt idx="4">
                  <c:v>-9.215271037423016E-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Equate Speed 3 Disposable Razors 8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4.9700000000000006</c:v>
                </c:pt>
                <c:pt idx="1">
                  <c:v>5.37</c:v>
                </c:pt>
                <c:pt idx="2">
                  <c:v>5.97</c:v>
                </c:pt>
                <c:pt idx="3">
                  <c:v>6.57</c:v>
                </c:pt>
                <c:pt idx="4">
                  <c:v>7.37</c:v>
                </c:pt>
              </c:numCache>
            </c:numRef>
          </c:xVal>
          <c:yVal>
            <c:numRef>
              <c:f>Sheet1!$B$9:$B$13</c:f>
              <c:numCache>
                <c:formatCode>General</c:formatCode>
                <c:ptCount val="5"/>
                <c:pt idx="0">
                  <c:v>0.13156707068392992</c:v>
                </c:pt>
                <c:pt idx="1">
                  <c:v>9.0441003003458781E-2</c:v>
                </c:pt>
                <c:pt idx="2">
                  <c:v>0</c:v>
                </c:pt>
                <c:pt idx="3">
                  <c:v>-0.11290514748876378</c:v>
                </c:pt>
                <c:pt idx="4">
                  <c:v>-0.3355858864756270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7.37"/>
          <c:min val="3.37"/>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3.37</c:v>
                </c:pt>
                <c:pt idx="1">
                  <c:v>3.57</c:v>
                </c:pt>
                <c:pt idx="2">
                  <c:v>3.77</c:v>
                </c:pt>
                <c:pt idx="3">
                  <c:v>3.97</c:v>
                </c:pt>
                <c:pt idx="4">
                  <c:v>4.17</c:v>
                </c:pt>
                <c:pt idx="5">
                  <c:v>4.37</c:v>
                </c:pt>
                <c:pt idx="6">
                  <c:v>4.57</c:v>
                </c:pt>
                <c:pt idx="7">
                  <c:v>4.77</c:v>
                </c:pt>
                <c:pt idx="8">
                  <c:v>4.97</c:v>
                </c:pt>
              </c:strCache>
            </c:strRef>
          </c:cat>
          <c:val>
            <c:numRef>
              <c:f>Sheet1!$B$2:$B$10</c:f>
              <c:numCache>
                <c:formatCode>General</c:formatCode>
                <c:ptCount val="9"/>
                <c:pt idx="0">
                  <c:v>106.26056309135427</c:v>
                </c:pt>
                <c:pt idx="1">
                  <c:v>103.78345874917969</c:v>
                </c:pt>
                <c:pt idx="2">
                  <c:v>101.39320818822645</c:v>
                </c:pt>
                <c:pt idx="3">
                  <c:v>100</c:v>
                </c:pt>
                <c:pt idx="4">
                  <c:v>98.640278581322434</c:v>
                </c:pt>
                <c:pt idx="5">
                  <c:v>97.312803378063805</c:v>
                </c:pt>
                <c:pt idx="6">
                  <c:v>96.016391667825673</c:v>
                </c:pt>
                <c:pt idx="7">
                  <c:v>93.353357148555531</c:v>
                </c:pt>
                <c:pt idx="8">
                  <c:v>90.78472896257697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3.37</c:v>
                </c:pt>
                <c:pt idx="1">
                  <c:v>3.57</c:v>
                </c:pt>
                <c:pt idx="2">
                  <c:v>3.77</c:v>
                </c:pt>
                <c:pt idx="3">
                  <c:v>3.97</c:v>
                </c:pt>
                <c:pt idx="4">
                  <c:v>4.17</c:v>
                </c:pt>
                <c:pt idx="5">
                  <c:v>4.37</c:v>
                </c:pt>
                <c:pt idx="6">
                  <c:v>4.57</c:v>
                </c:pt>
                <c:pt idx="7">
                  <c:v>4.77</c:v>
                </c:pt>
                <c:pt idx="8">
                  <c:v>4.97</c:v>
                </c:pt>
              </c:strCache>
            </c:strRef>
          </c:cat>
          <c:val>
            <c:numRef>
              <c:f>Sheet1!$C$2:$C$10</c:f>
              <c:numCache>
                <c:formatCode>General</c:formatCode>
                <c:ptCount val="9"/>
                <c:pt idx="0">
                  <c:v>90.404364873487225</c:v>
                </c:pt>
                <c:pt idx="1">
                  <c:v>93.461298154858724</c:v>
                </c:pt>
                <c:pt idx="2">
                  <c:v>96.349524598578114</c:v>
                </c:pt>
                <c:pt idx="3">
                  <c:v>100</c:v>
                </c:pt>
                <c:pt idx="4">
                  <c:v>103.54231739832309</c:v>
                </c:pt>
                <c:pt idx="5">
                  <c:v>106.98049910012716</c:v>
                </c:pt>
                <c:pt idx="6">
                  <c:v>110.31835794366474</c:v>
                </c:pt>
                <c:pt idx="7">
                  <c:v>111.8823681902018</c:v>
                </c:pt>
                <c:pt idx="8">
                  <c:v>113.2984026973604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3.37</c:v>
                </c:pt>
                <c:pt idx="1">
                  <c:v>3.57</c:v>
                </c:pt>
                <c:pt idx="2">
                  <c:v>3.77</c:v>
                </c:pt>
                <c:pt idx="3">
                  <c:v>3.97</c:v>
                </c:pt>
                <c:pt idx="4">
                  <c:v>4.17</c:v>
                </c:pt>
                <c:pt idx="5">
                  <c:v>4.37</c:v>
                </c:pt>
                <c:pt idx="6">
                  <c:v>4.57</c:v>
                </c:pt>
                <c:pt idx="7">
                  <c:v>4.77</c:v>
                </c:pt>
                <c:pt idx="8">
                  <c:v>4.97</c:v>
                </c:pt>
              </c:strCache>
            </c:strRef>
          </c:cat>
          <c:val>
            <c:numRef>
              <c:f>Sheet1!$D$2:$D$10</c:f>
              <c:numCache>
                <c:formatCode>General</c:formatCode>
                <c:ptCount val="9"/>
                <c:pt idx="0">
                  <c:v>72.769474242910533</c:v>
                </c:pt>
                <c:pt idx="1">
                  <c:v>81.976553554073931</c:v>
                </c:pt>
                <c:pt idx="2">
                  <c:v>90.740874449128768</c:v>
                </c:pt>
                <c:pt idx="3">
                  <c:v>100</c:v>
                </c:pt>
                <c:pt idx="4">
                  <c:v>109.00339053271864</c:v>
                </c:pt>
                <c:pt idx="5">
                  <c:v>117.76009915247027</c:v>
                </c:pt>
                <c:pt idx="6">
                  <c:v>126.27873369484392</c:v>
                </c:pt>
                <c:pt idx="7">
                  <c:v>132.58403674853528</c:v>
                </c:pt>
                <c:pt idx="8">
                  <c:v>138.4737827267908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3.37</c:v>
                </c:pt>
                <c:pt idx="1">
                  <c:v>3.57</c:v>
                </c:pt>
                <c:pt idx="2">
                  <c:v>3.77</c:v>
                </c:pt>
                <c:pt idx="3">
                  <c:v>3.97</c:v>
                </c:pt>
                <c:pt idx="4">
                  <c:v>4.17</c:v>
                </c:pt>
                <c:pt idx="5">
                  <c:v>4.37</c:v>
                </c:pt>
                <c:pt idx="6">
                  <c:v>4.57</c:v>
                </c:pt>
                <c:pt idx="7">
                  <c:v>4.77</c:v>
                </c:pt>
                <c:pt idx="8">
                  <c:v>4.97</c:v>
                </c:pt>
              </c:strCache>
            </c:strRef>
          </c:cat>
          <c:val>
            <c:numRef>
              <c:f>Sheet1!$E$2:$E$10</c:f>
              <c:numCache>
                <c:formatCode>General</c:formatCode>
                <c:ptCount val="9"/>
                <c:pt idx="0">
                  <c:v>0.38684885815684716</c:v>
                </c:pt>
                <c:pt idx="1">
                  <c:v>0.42119906218167369</c:v>
                </c:pt>
                <c:pt idx="2">
                  <c:v>0.45190468222508623</c:v>
                </c:pt>
                <c:pt idx="3">
                  <c:v>0.4795165370248301</c:v>
                </c:pt>
                <c:pt idx="4">
                  <c:v>0.50447977265913069</c:v>
                </c:pt>
                <c:pt idx="5">
                  <c:v>0.52715804393331223</c:v>
                </c:pt>
                <c:pt idx="6">
                  <c:v>0.54785134616817843</c:v>
                </c:pt>
                <c:pt idx="7">
                  <c:v>0.56680936100389423</c:v>
                </c:pt>
                <c:pt idx="8">
                  <c:v>0.58424157987697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Speed 3 Disposable Razors 4 Pack (2.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Speed 3 Disposable Razors 8 Pack (1.9%)</c:v>
                </c:pt>
                <c:pt idx="1">
                  <c:v>Equate 2 Blade Disposable Razors 12 Pack (5.7%)</c:v>
                </c:pt>
                <c:pt idx="2">
                  <c:v>Schick Xtreme 3 Sensitive Disposable Razors 4 Pack (2.8%)</c:v>
                </c:pt>
                <c:pt idx="3">
                  <c:v>Equate Caliber 5 Disposable Razors 3 Pack (2.2%)</c:v>
                </c:pt>
                <c:pt idx="4">
                  <c:v>Schick Xtreme 2 Sensitive Disposable Razors 12 Pack (2.7%)</c:v>
                </c:pt>
                <c:pt idx="5">
                  <c:v>Equate Caliber 3 Disposable Razors 3 Pack (1.4%)</c:v>
                </c:pt>
                <c:pt idx="6">
                  <c:v>Equate 2 Blade Disposable Razors 5 Pack (5.5%)</c:v>
                </c:pt>
                <c:pt idx="7">
                  <c:v>None Razors (12.2%)</c:v>
                </c:pt>
                <c:pt idx="8">
                  <c:v>Bic Men Sensitive Single Blade Disposable Razors 12 Pack (5.7%)</c:v>
                </c:pt>
                <c:pt idx="9">
                  <c:v>Gillette Mach 3 Sensitive Skin Disposable Razors 3 Pack (2.4%)</c:v>
                </c:pt>
              </c:strCache>
            </c:strRef>
          </c:cat>
          <c:val>
            <c:numRef>
              <c:f>Sheet1!$B$2:$B$11</c:f>
              <c:numCache>
                <c:formatCode>General</c:formatCode>
                <c:ptCount val="10"/>
                <c:pt idx="0">
                  <c:v>0.11261228188756305</c:v>
                </c:pt>
                <c:pt idx="1">
                  <c:v>8.3772440159878003E-2</c:v>
                </c:pt>
                <c:pt idx="2">
                  <c:v>7.3969830815274612E-2</c:v>
                </c:pt>
                <c:pt idx="3">
                  <c:v>6.9857542513593371E-2</c:v>
                </c:pt>
                <c:pt idx="4">
                  <c:v>6.1951118973809394E-2</c:v>
                </c:pt>
                <c:pt idx="5">
                  <c:v>6.0921830295225535E-2</c:v>
                </c:pt>
                <c:pt idx="6">
                  <c:v>5.912206258756475E-2</c:v>
                </c:pt>
                <c:pt idx="7">
                  <c:v>4.9567218307271628E-2</c:v>
                </c:pt>
                <c:pt idx="8">
                  <c:v>4.5604663212723044E-2</c:v>
                </c:pt>
                <c:pt idx="9">
                  <c:v>3.291875617822566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Speed 3 Disposable Razors 4 Pack (2.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Equate Speed 3 Disposable Razors 8 Pack (1.9%)</c:v>
                </c:pt>
                <c:pt idx="2">
                  <c:v>Equate 2 Blade Disposable Razors 5 Pack (5.5%)</c:v>
                </c:pt>
                <c:pt idx="3">
                  <c:v>None Razors (12.2%)</c:v>
                </c:pt>
                <c:pt idx="4">
                  <c:v>Schick Xtreme 3 Sensitive Disposable Razors 4 Pack (2.8%)</c:v>
                </c:pt>
                <c:pt idx="5">
                  <c:v>Equate Caliber 5 Disposable Razors 3 Pack (2.2%)</c:v>
                </c:pt>
                <c:pt idx="6">
                  <c:v>Equate Caliber 3 Disposable Razors 3 Pack (1.4%)</c:v>
                </c:pt>
                <c:pt idx="7">
                  <c:v>Schick Xtreme 2 Sensitive Disposable Razors 12 Pack (2.7%)</c:v>
                </c:pt>
                <c:pt idx="8">
                  <c:v>Bic Men Sensitive Single Blade Disposable Razors 12 Pack (5.7%)</c:v>
                </c:pt>
                <c:pt idx="9">
                  <c:v>Gillette Mach 3 Sensitive Skin Disposable Razors 3 Pack (2.4%)</c:v>
                </c:pt>
              </c:strCache>
            </c:strRef>
          </c:cat>
          <c:val>
            <c:numRef>
              <c:f>Sheet1!$B$2:$B$11</c:f>
              <c:numCache>
                <c:formatCode>General</c:formatCode>
                <c:ptCount val="10"/>
                <c:pt idx="0">
                  <c:v>0.10236295211978802</c:v>
                </c:pt>
                <c:pt idx="1">
                  <c:v>8.1753257959631204E-2</c:v>
                </c:pt>
                <c:pt idx="2">
                  <c:v>7.0383046222592505E-2</c:v>
                </c:pt>
                <c:pt idx="3">
                  <c:v>6.8017850399623561E-2</c:v>
                </c:pt>
                <c:pt idx="4">
                  <c:v>6.5097724051154882E-2</c:v>
                </c:pt>
                <c:pt idx="5">
                  <c:v>6.3075680141061338E-2</c:v>
                </c:pt>
                <c:pt idx="6">
                  <c:v>5.4837672836100478E-2</c:v>
                </c:pt>
                <c:pt idx="7">
                  <c:v>5.0768787758301383E-2</c:v>
                </c:pt>
                <c:pt idx="8">
                  <c:v>4.9119446292399907E-2</c:v>
                </c:pt>
                <c:pt idx="9">
                  <c:v>3.130889510871306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4</c:f>
              <c:strCache>
                <c:ptCount val="13"/>
                <c:pt idx="0">
                  <c:v>4.97</c:v>
                </c:pt>
                <c:pt idx="1">
                  <c:v>5.17</c:v>
                </c:pt>
                <c:pt idx="2">
                  <c:v>5.37</c:v>
                </c:pt>
                <c:pt idx="3">
                  <c:v>5.57</c:v>
                </c:pt>
                <c:pt idx="4">
                  <c:v>5.77</c:v>
                </c:pt>
                <c:pt idx="5">
                  <c:v>5.97</c:v>
                </c:pt>
                <c:pt idx="6">
                  <c:v>6.17</c:v>
                </c:pt>
                <c:pt idx="7">
                  <c:v>6.37</c:v>
                </c:pt>
                <c:pt idx="8">
                  <c:v>6.57</c:v>
                </c:pt>
                <c:pt idx="9">
                  <c:v>6.77</c:v>
                </c:pt>
                <c:pt idx="10">
                  <c:v>6.97</c:v>
                </c:pt>
                <c:pt idx="11">
                  <c:v>7.17</c:v>
                </c:pt>
                <c:pt idx="12">
                  <c:v>7.37</c:v>
                </c:pt>
              </c:strCache>
            </c:strRef>
          </c:cat>
          <c:val>
            <c:numRef>
              <c:f>Sheet1!$B$2:$B$14</c:f>
              <c:numCache>
                <c:formatCode>General</c:formatCode>
                <c:ptCount val="13"/>
                <c:pt idx="0">
                  <c:v>113.156707068393</c:v>
                </c:pt>
                <c:pt idx="1">
                  <c:v>111.06524444806918</c:v>
                </c:pt>
                <c:pt idx="2">
                  <c:v>109.04410030034595</c:v>
                </c:pt>
                <c:pt idx="3">
                  <c:v>106.32514214748177</c:v>
                </c:pt>
                <c:pt idx="4">
                  <c:v>103.04664591055609</c:v>
                </c:pt>
                <c:pt idx="5">
                  <c:v>100</c:v>
                </c:pt>
                <c:pt idx="6">
                  <c:v>97.163106891580426</c:v>
                </c:pt>
                <c:pt idx="7">
                  <c:v>94.516090352285048</c:v>
                </c:pt>
                <c:pt idx="8">
                  <c:v>88.709485251123667</c:v>
                </c:pt>
                <c:pt idx="9">
                  <c:v>80.655451208333545</c:v>
                </c:pt>
                <c:pt idx="10">
                  <c:v>73.723837931696892</c:v>
                </c:pt>
                <c:pt idx="11">
                  <c:v>69.169585338204982</c:v>
                </c:pt>
                <c:pt idx="12">
                  <c:v>66.44141135243734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4</c:f>
              <c:strCache>
                <c:ptCount val="13"/>
                <c:pt idx="0">
                  <c:v>4.97</c:v>
                </c:pt>
                <c:pt idx="1">
                  <c:v>5.17</c:v>
                </c:pt>
                <c:pt idx="2">
                  <c:v>5.37</c:v>
                </c:pt>
                <c:pt idx="3">
                  <c:v>5.57</c:v>
                </c:pt>
                <c:pt idx="4">
                  <c:v>5.77</c:v>
                </c:pt>
                <c:pt idx="5">
                  <c:v>5.97</c:v>
                </c:pt>
                <c:pt idx="6">
                  <c:v>6.17</c:v>
                </c:pt>
                <c:pt idx="7">
                  <c:v>6.37</c:v>
                </c:pt>
                <c:pt idx="8">
                  <c:v>6.57</c:v>
                </c:pt>
                <c:pt idx="9">
                  <c:v>6.77</c:v>
                </c:pt>
                <c:pt idx="10">
                  <c:v>6.97</c:v>
                </c:pt>
                <c:pt idx="11">
                  <c:v>7.17</c:v>
                </c:pt>
                <c:pt idx="12">
                  <c:v>7.37</c:v>
                </c:pt>
              </c:strCache>
            </c:strRef>
          </c:cat>
          <c:val>
            <c:numRef>
              <c:f>Sheet1!$C$2:$C$14</c:f>
              <c:numCache>
                <c:formatCode>General</c:formatCode>
                <c:ptCount val="13"/>
                <c:pt idx="0">
                  <c:v>94.426729540571088</c:v>
                </c:pt>
                <c:pt idx="1">
                  <c:v>96.357035508544527</c:v>
                </c:pt>
                <c:pt idx="2">
                  <c:v>98.210180702915224</c:v>
                </c:pt>
                <c:pt idx="3">
                  <c:v>99.28061151458671</c:v>
                </c:pt>
                <c:pt idx="4">
                  <c:v>99.633364845725225</c:v>
                </c:pt>
                <c:pt idx="5">
                  <c:v>100</c:v>
                </c:pt>
                <c:pt idx="6">
                  <c:v>100.38079159314499</c:v>
                </c:pt>
                <c:pt idx="7">
                  <c:v>100.77544732807458</c:v>
                </c:pt>
                <c:pt idx="8">
                  <c:v>97.532125865010357</c:v>
                </c:pt>
                <c:pt idx="9">
                  <c:v>91.368069491418822</c:v>
                </c:pt>
                <c:pt idx="10">
                  <c:v>85.976276327490481</c:v>
                </c:pt>
                <c:pt idx="11">
                  <c:v>82.967891389805658</c:v>
                </c:pt>
                <c:pt idx="12">
                  <c:v>81.9017248881924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4</c:f>
              <c:strCache>
                <c:ptCount val="13"/>
                <c:pt idx="0">
                  <c:v>4.97</c:v>
                </c:pt>
                <c:pt idx="1">
                  <c:v>5.17</c:v>
                </c:pt>
                <c:pt idx="2">
                  <c:v>5.37</c:v>
                </c:pt>
                <c:pt idx="3">
                  <c:v>5.57</c:v>
                </c:pt>
                <c:pt idx="4">
                  <c:v>5.77</c:v>
                </c:pt>
                <c:pt idx="5">
                  <c:v>5.97</c:v>
                </c:pt>
                <c:pt idx="6">
                  <c:v>6.17</c:v>
                </c:pt>
                <c:pt idx="7">
                  <c:v>6.37</c:v>
                </c:pt>
                <c:pt idx="8">
                  <c:v>6.57</c:v>
                </c:pt>
                <c:pt idx="9">
                  <c:v>6.77</c:v>
                </c:pt>
                <c:pt idx="10">
                  <c:v>6.97</c:v>
                </c:pt>
                <c:pt idx="11">
                  <c:v>7.17</c:v>
                </c:pt>
                <c:pt idx="12">
                  <c:v>7.37</c:v>
                </c:pt>
              </c:strCache>
            </c:strRef>
          </c:cat>
          <c:val>
            <c:numRef>
              <c:f>Sheet1!$D$2:$D$14</c:f>
              <c:numCache>
                <c:formatCode>General</c:formatCode>
                <c:ptCount val="13"/>
                <c:pt idx="0">
                  <c:v>76.405791961922944</c:v>
                </c:pt>
                <c:pt idx="1">
                  <c:v>82.207922769217006</c:v>
                </c:pt>
                <c:pt idx="2">
                  <c:v>87.794964070653748</c:v>
                </c:pt>
                <c:pt idx="3">
                  <c:v>92.51227546381719</c:v>
                </c:pt>
                <c:pt idx="4">
                  <c:v>96.353169873689069</c:v>
                </c:pt>
                <c:pt idx="5">
                  <c:v>100</c:v>
                </c:pt>
                <c:pt idx="6">
                  <c:v>103.4744130180393</c:v>
                </c:pt>
                <c:pt idx="7">
                  <c:v>106.79482451740292</c:v>
                </c:pt>
                <c:pt idx="8">
                  <c:v>105.99606867723321</c:v>
                </c:pt>
                <c:pt idx="9">
                  <c:v>101.61160461382237</c:v>
                </c:pt>
                <c:pt idx="10">
                  <c:v>97.667787692565696</c:v>
                </c:pt>
                <c:pt idx="11">
                  <c:v>96.127374668476008</c:v>
                </c:pt>
                <c:pt idx="12">
                  <c:v>96.65169074284321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4</c:f>
              <c:strCache>
                <c:ptCount val="13"/>
                <c:pt idx="0">
                  <c:v>4.97</c:v>
                </c:pt>
                <c:pt idx="1">
                  <c:v>5.17</c:v>
                </c:pt>
                <c:pt idx="2">
                  <c:v>5.37</c:v>
                </c:pt>
                <c:pt idx="3">
                  <c:v>5.57</c:v>
                </c:pt>
                <c:pt idx="4">
                  <c:v>5.77</c:v>
                </c:pt>
                <c:pt idx="5">
                  <c:v>5.97</c:v>
                </c:pt>
                <c:pt idx="6">
                  <c:v>6.17</c:v>
                </c:pt>
                <c:pt idx="7">
                  <c:v>6.37</c:v>
                </c:pt>
                <c:pt idx="8">
                  <c:v>6.57</c:v>
                </c:pt>
                <c:pt idx="9">
                  <c:v>6.77</c:v>
                </c:pt>
                <c:pt idx="10">
                  <c:v>6.97</c:v>
                </c:pt>
                <c:pt idx="11">
                  <c:v>7.17</c:v>
                </c:pt>
                <c:pt idx="12">
                  <c:v>7.37</c:v>
                </c:pt>
              </c:strCache>
            </c:strRef>
          </c:cat>
          <c:val>
            <c:numRef>
              <c:f>Sheet1!$E$2:$E$14</c:f>
              <c:numCache>
                <c:formatCode>General</c:formatCode>
                <c:ptCount val="13"/>
                <c:pt idx="0">
                  <c:v>0.41831336010429415</c:v>
                </c:pt>
                <c:pt idx="1">
                  <c:v>0.44081574462637191</c:v>
                </c:pt>
                <c:pt idx="2">
                  <c:v>0.46164197387678618</c:v>
                </c:pt>
                <c:pt idx="3">
                  <c:v>0.48097260318103069</c:v>
                </c:pt>
                <c:pt idx="4">
                  <c:v>0.49896315419728626</c:v>
                </c:pt>
                <c:pt idx="5">
                  <c:v>0.5157483081605263</c:v>
                </c:pt>
                <c:pt idx="6">
                  <c:v>0.53144528358482035</c:v>
                </c:pt>
                <c:pt idx="7">
                  <c:v>0.54615657766378989</c:v>
                </c:pt>
                <c:pt idx="8">
                  <c:v>0.55997220695865169</c:v>
                </c:pt>
                <c:pt idx="9">
                  <c:v>0.57297155091851437</c:v>
                </c:pt>
                <c:pt idx="10">
                  <c:v>0.58522487800837042</c:v>
                </c:pt>
                <c:pt idx="11">
                  <c:v>0.59679461641817877</c:v>
                </c:pt>
                <c:pt idx="12">
                  <c:v>0.6077364178722309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ic (16.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quate (21.7%)</c:v>
                </c:pt>
                <c:pt idx="1">
                  <c:v>Gillette (38.7%)</c:v>
                </c:pt>
                <c:pt idx="2">
                  <c:v>Schick (11.2%)</c:v>
                </c:pt>
                <c:pt idx="3">
                  <c:v>Harrys (11.2%)</c:v>
                </c:pt>
                <c:pt idx="4">
                  <c:v>Dollar Shave Club (2.9%)</c:v>
                </c:pt>
                <c:pt idx="5">
                  <c:v>Van Der Hagen (2.0%)</c:v>
                </c:pt>
              </c:strCache>
            </c:strRef>
          </c:cat>
          <c:val>
            <c:numRef>
              <c:f>Sheet1!$B$2:$B$7</c:f>
              <c:numCache>
                <c:formatCode>General</c:formatCode>
                <c:ptCount val="6"/>
                <c:pt idx="0">
                  <c:v>0.38416327300171427</c:v>
                </c:pt>
                <c:pt idx="1">
                  <c:v>0.31325362692248926</c:v>
                </c:pt>
                <c:pt idx="2">
                  <c:v>0.18006388135192875</c:v>
                </c:pt>
                <c:pt idx="3">
                  <c:v>3.547855109975992E-2</c:v>
                </c:pt>
                <c:pt idx="4">
                  <c:v>3.4505951839703584E-2</c:v>
                </c:pt>
                <c:pt idx="5">
                  <c:v>1.222621966821903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Speed 3 Disposable Razors 8 Pack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Speed 3 Disposable Razors 4 Pack (2.3%)</c:v>
                </c:pt>
                <c:pt idx="1">
                  <c:v>Equate Caliber 5 Disposable Razors 3 Pack (2.2%)</c:v>
                </c:pt>
                <c:pt idx="2">
                  <c:v>Equate Caliber 3 Disposable Razors 3 Pack (1.4%)</c:v>
                </c:pt>
                <c:pt idx="3">
                  <c:v>Equate 2 Blade Disposable Razors 12 Pack (5.7%)</c:v>
                </c:pt>
                <c:pt idx="4">
                  <c:v>Bic Men Sensitive Single Blade Disposable Razors 12 Pack (5.7%)</c:v>
                </c:pt>
                <c:pt idx="5">
                  <c:v>Equate 2 Blade Disposable Razors 5 Pack (5.5%)</c:v>
                </c:pt>
                <c:pt idx="6">
                  <c:v>Bic Comfort 3 Sensitive Skin Disposable Razors 4 Pack (2.0%)</c:v>
                </c:pt>
                <c:pt idx="7">
                  <c:v>None Razors (12.2%)</c:v>
                </c:pt>
                <c:pt idx="8">
                  <c:v>Schick Xtreme 3 Sensitive Disposable Razors 4 Pack (2.8%)</c:v>
                </c:pt>
                <c:pt idx="9">
                  <c:v>Bic 3 Sensitive Disposable Razors 5 Pack (1.9%)</c:v>
                </c:pt>
              </c:strCache>
            </c:strRef>
          </c:cat>
          <c:val>
            <c:numRef>
              <c:f>Sheet1!$B$2:$B$11</c:f>
              <c:numCache>
                <c:formatCode>General</c:formatCode>
                <c:ptCount val="10"/>
                <c:pt idx="0">
                  <c:v>0.22457724258780068</c:v>
                </c:pt>
                <c:pt idx="1">
                  <c:v>0.10824482738226712</c:v>
                </c:pt>
                <c:pt idx="2">
                  <c:v>9.6697276876813718E-2</c:v>
                </c:pt>
                <c:pt idx="3">
                  <c:v>9.4982078076052301E-2</c:v>
                </c:pt>
                <c:pt idx="4">
                  <c:v>8.697960897194372E-2</c:v>
                </c:pt>
                <c:pt idx="5">
                  <c:v>6.587048649348072E-2</c:v>
                </c:pt>
                <c:pt idx="6">
                  <c:v>3.4263744798381353E-2</c:v>
                </c:pt>
                <c:pt idx="7">
                  <c:v>3.368685643692635E-2</c:v>
                </c:pt>
                <c:pt idx="8">
                  <c:v>3.197873425132422E-2</c:v>
                </c:pt>
                <c:pt idx="9">
                  <c:v>2.817400792022373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Speed 3 Disposable Razors 8 Pack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Speed 3 Disposable Razors 4 Pack (2.3%)</c:v>
                </c:pt>
                <c:pt idx="1">
                  <c:v>Equate Caliber 5 Disposable Razors 3 Pack (2.2%)</c:v>
                </c:pt>
                <c:pt idx="2">
                  <c:v>Equate Caliber 3 Disposable Razors 3 Pack (1.4%)</c:v>
                </c:pt>
                <c:pt idx="3">
                  <c:v>Bic Men Sensitive Single Blade Disposable Razors 12 Pack (5.7%)</c:v>
                </c:pt>
                <c:pt idx="4">
                  <c:v>Equate 2 Blade Disposable Razors 12 Pack (5.7%)</c:v>
                </c:pt>
                <c:pt idx="5">
                  <c:v>Equate 2 Blade Disposable Razors 5 Pack (5.5%)</c:v>
                </c:pt>
                <c:pt idx="6">
                  <c:v>Schick Xtreme 3 Sensitive Disposable Razors 4 Pack (2.8%)</c:v>
                </c:pt>
                <c:pt idx="7">
                  <c:v>Schick Xtreme 2 Sensitive Disposable Razors 12 Pack (2.7%)</c:v>
                </c:pt>
                <c:pt idx="8">
                  <c:v>Bic Comfort 3 Sensitive Skin Disposable Razors 4 Pack (2.0%)</c:v>
                </c:pt>
                <c:pt idx="9">
                  <c:v>None Razors (12.2%)</c:v>
                </c:pt>
              </c:strCache>
            </c:strRef>
          </c:cat>
          <c:val>
            <c:numRef>
              <c:f>Sheet1!$B$2:$B$11</c:f>
              <c:numCache>
                <c:formatCode>General</c:formatCode>
                <c:ptCount val="10"/>
                <c:pt idx="0">
                  <c:v>0.25789667602669564</c:v>
                </c:pt>
                <c:pt idx="1">
                  <c:v>0.11497012026024604</c:v>
                </c:pt>
                <c:pt idx="2">
                  <c:v>9.0529681505114923E-2</c:v>
                </c:pt>
                <c:pt idx="3">
                  <c:v>8.7608645113855924E-2</c:v>
                </c:pt>
                <c:pt idx="4">
                  <c:v>6.5750657393458881E-2</c:v>
                </c:pt>
                <c:pt idx="5">
                  <c:v>4.2547582317651149E-2</c:v>
                </c:pt>
                <c:pt idx="6">
                  <c:v>4.1857085423615201E-2</c:v>
                </c:pt>
                <c:pt idx="7">
                  <c:v>3.700260871829205E-2</c:v>
                </c:pt>
                <c:pt idx="8">
                  <c:v>3.2544399835109171E-2</c:v>
                </c:pt>
                <c:pt idx="9">
                  <c:v>2.772725220372797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5 Blades 1 Handle + 2 Cartridges</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6.7700000000000005</c:v>
                </c:pt>
                <c:pt idx="1">
                  <c:v>7.2700000000000005</c:v>
                </c:pt>
                <c:pt idx="2">
                  <c:v>7.97</c:v>
                </c:pt>
                <c:pt idx="3">
                  <c:v>8.77</c:v>
                </c:pt>
                <c:pt idx="4">
                  <c:v>9.9700000000000006</c:v>
                </c:pt>
              </c:numCache>
            </c:numRef>
          </c:xVal>
          <c:yVal>
            <c:numRef>
              <c:f>Sheet1!$B$2:$B$6</c:f>
              <c:numCache>
                <c:formatCode>General</c:formatCode>
                <c:ptCount val="5"/>
                <c:pt idx="0">
                  <c:v>0.32480408461099763</c:v>
                </c:pt>
                <c:pt idx="1">
                  <c:v>0.16005480274962292</c:v>
                </c:pt>
                <c:pt idx="2">
                  <c:v>0</c:v>
                </c:pt>
                <c:pt idx="3">
                  <c:v>-0.12985892763921617</c:v>
                </c:pt>
                <c:pt idx="4">
                  <c:v>-0.2084535571786578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Equate Easy Fit 5 blades 1 Handle + 5 Cartridges</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0.17</c:v>
                </c:pt>
                <c:pt idx="1">
                  <c:v>10.77</c:v>
                </c:pt>
                <c:pt idx="2">
                  <c:v>11.97</c:v>
                </c:pt>
                <c:pt idx="3">
                  <c:v>13.17</c:v>
                </c:pt>
                <c:pt idx="4">
                  <c:v>14.97</c:v>
                </c:pt>
              </c:numCache>
            </c:numRef>
          </c:xVal>
          <c:yVal>
            <c:numRef>
              <c:f>Sheet1!$B$9:$B$13</c:f>
              <c:numCache>
                <c:formatCode>General</c:formatCode>
                <c:ptCount val="5"/>
                <c:pt idx="0">
                  <c:v>0.16465547994106614</c:v>
                </c:pt>
                <c:pt idx="1">
                  <c:v>8.2572762491307794E-2</c:v>
                </c:pt>
                <c:pt idx="2">
                  <c:v>0</c:v>
                </c:pt>
                <c:pt idx="3">
                  <c:v>-9.1827606087038063E-2</c:v>
                </c:pt>
                <c:pt idx="4">
                  <c:v>-0.1674928541169617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4.97"/>
          <c:min val="6.770000000000000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B$2:$B$18</c:f>
              <c:numCache>
                <c:formatCode>General</c:formatCode>
                <c:ptCount val="17"/>
                <c:pt idx="0">
                  <c:v>132.48040846109984</c:v>
                </c:pt>
                <c:pt idx="1">
                  <c:v>124.83048277993456</c:v>
                </c:pt>
                <c:pt idx="2">
                  <c:v>118.66800094224831</c:v>
                </c:pt>
                <c:pt idx="3">
                  <c:v>113.44659530650661</c:v>
                </c:pt>
                <c:pt idx="4">
                  <c:v>108.61938431247069</c:v>
                </c:pt>
                <c:pt idx="5">
                  <c:v>104.1484548899208</c:v>
                </c:pt>
                <c:pt idx="6">
                  <c:v>100</c:v>
                </c:pt>
                <c:pt idx="7">
                  <c:v>96.224787259911807</c:v>
                </c:pt>
                <c:pt idx="8">
                  <c:v>92.861277963058257</c:v>
                </c:pt>
                <c:pt idx="9">
                  <c:v>89.805096085844085</c:v>
                </c:pt>
                <c:pt idx="10">
                  <c:v>87.014107236078402</c:v>
                </c:pt>
                <c:pt idx="11">
                  <c:v>84.453049864915755</c:v>
                </c:pt>
                <c:pt idx="12">
                  <c:v>83.330309225828742</c:v>
                </c:pt>
                <c:pt idx="13">
                  <c:v>82.240555056324965</c:v>
                </c:pt>
                <c:pt idx="14">
                  <c:v>81.182289746951952</c:v>
                </c:pt>
                <c:pt idx="15">
                  <c:v>80.154098481116307</c:v>
                </c:pt>
                <c:pt idx="16">
                  <c:v>79.15464428213424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C$2:$C$18</c:f>
              <c:numCache>
                <c:formatCode>General</c:formatCode>
                <c:ptCount val="17"/>
                <c:pt idx="0">
                  <c:v>112.59352133799487</c:v>
                </c:pt>
                <c:pt idx="1">
                  <c:v>109.21727871808051</c:v>
                </c:pt>
                <c:pt idx="2">
                  <c:v>106.79492716765395</c:v>
                </c:pt>
                <c:pt idx="3">
                  <c:v>104.93341445417495</c:v>
                </c:pt>
                <c:pt idx="4">
                  <c:v>103.18531399221169</c:v>
                </c:pt>
                <c:pt idx="5">
                  <c:v>101.54320852445619</c:v>
                </c:pt>
                <c:pt idx="6">
                  <c:v>100</c:v>
                </c:pt>
                <c:pt idx="7">
                  <c:v>98.632388032368453</c:v>
                </c:pt>
                <c:pt idx="8">
                  <c:v>97.508542006465376</c:v>
                </c:pt>
                <c:pt idx="9">
                  <c:v>96.54661294007407</c:v>
                </c:pt>
                <c:pt idx="10">
                  <c:v>95.723336142521418</c:v>
                </c:pt>
                <c:pt idx="11">
                  <c:v>95.018960874060781</c:v>
                </c:pt>
                <c:pt idx="12">
                  <c:v>95.838674374855387</c:v>
                </c:pt>
                <c:pt idx="13">
                  <c:v>96.6408749649855</c:v>
                </c:pt>
                <c:pt idx="14">
                  <c:v>97.42624851614616</c:v>
                </c:pt>
                <c:pt idx="15">
                  <c:v>98.195431915401599</c:v>
                </c:pt>
                <c:pt idx="16">
                  <c:v>98.94901728166377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D$2:$D$18</c:f>
              <c:numCache>
                <c:formatCode>General</c:formatCode>
                <c:ptCount val="17"/>
                <c:pt idx="0">
                  <c:v>78.758614925484622</c:v>
                </c:pt>
                <c:pt idx="1">
                  <c:v>82.647406424510507</c:v>
                </c:pt>
                <c:pt idx="2">
                  <c:v>86.587494750393475</c:v>
                </c:pt>
                <c:pt idx="3">
                  <c:v>90.444875123238134</c:v>
                </c:pt>
                <c:pt idx="4">
                  <c:v>93.937394208468234</c:v>
                </c:pt>
                <c:pt idx="5">
                  <c:v>97.109625708003762</c:v>
                </c:pt>
                <c:pt idx="6">
                  <c:v>100</c:v>
                </c:pt>
                <c:pt idx="7">
                  <c:v>102.72809872338675</c:v>
                </c:pt>
                <c:pt idx="8">
                  <c:v>105.41325818950207</c:v>
                </c:pt>
                <c:pt idx="9">
                  <c:v>108.01341415495096</c:v>
                </c:pt>
                <c:pt idx="10">
                  <c:v>110.53735346758975</c:v>
                </c:pt>
                <c:pt idx="11">
                  <c:v>112.99166776949063</c:v>
                </c:pt>
                <c:pt idx="12">
                  <c:v>117.12137100990687</c:v>
                </c:pt>
                <c:pt idx="13">
                  <c:v>121.14790645539739</c:v>
                </c:pt>
                <c:pt idx="14">
                  <c:v>125.07565490380664</c:v>
                </c:pt>
                <c:pt idx="15">
                  <c:v>128.90872544432045</c:v>
                </c:pt>
                <c:pt idx="16">
                  <c:v>132.6509751346880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E$2:$E$18</c:f>
              <c:numCache>
                <c:formatCode>General</c:formatCode>
                <c:ptCount val="17"/>
                <c:pt idx="0">
                  <c:v>0.2598604246537618</c:v>
                </c:pt>
                <c:pt idx="1">
                  <c:v>0.28109828908263529</c:v>
                </c:pt>
                <c:pt idx="2">
                  <c:v>0.30115133541226879</c:v>
                </c:pt>
                <c:pt idx="3">
                  <c:v>0.32011602101844866</c:v>
                </c:pt>
                <c:pt idx="4">
                  <c:v>0.33807860963090713</c:v>
                </c:pt>
                <c:pt idx="5">
                  <c:v>0.35511648325688122</c:v>
                </c:pt>
                <c:pt idx="6">
                  <c:v>0.37129925657540369</c:v>
                </c:pt>
                <c:pt idx="7">
                  <c:v>0.38668972765066922</c:v>
                </c:pt>
                <c:pt idx="8">
                  <c:v>0.40134469234240949</c:v>
                </c:pt>
                <c:pt idx="9">
                  <c:v>0.41531564467980953</c:v>
                </c:pt>
                <c:pt idx="10">
                  <c:v>0.42864938140318892</c:v>
                </c:pt>
                <c:pt idx="11">
                  <c:v>0.44138852563054254</c:v>
                </c:pt>
                <c:pt idx="12">
                  <c:v>0.45357198199628873</c:v>
                </c:pt>
                <c:pt idx="13">
                  <c:v>0.46523533350117052</c:v>
                </c:pt>
                <c:pt idx="14">
                  <c:v>0.47641118860041454</c:v>
                </c:pt>
                <c:pt idx="15">
                  <c:v>0.487129485660795</c:v>
                </c:pt>
                <c:pt idx="16">
                  <c:v>0.497417760772915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5 Blades 1 Handle + 2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Equate 2 Blade Disposable Razors 5 Pack (5.5%)</c:v>
                </c:pt>
                <c:pt idx="2">
                  <c:v>Schick Hydro 5 Blade Sensitive 1 Handle + 3 Cartridges (2.0%)</c:v>
                </c:pt>
                <c:pt idx="3">
                  <c:v>None Razors (12.2%)</c:v>
                </c:pt>
                <c:pt idx="4">
                  <c:v>Dollar Shave Club 6 1 Handle + 2 Blades (2.0%)</c:v>
                </c:pt>
                <c:pt idx="5">
                  <c:v>Equate Speed 3 Disposable Razors 4 Pack (2.3%)</c:v>
                </c:pt>
                <c:pt idx="6">
                  <c:v>Equate Caliber 5 Disposable Razors 3 Pack (2.2%)</c:v>
                </c:pt>
                <c:pt idx="7">
                  <c:v>Schick Xtreme 3 Sensitive Disposable Razors 4 Pack (2.8%)</c:v>
                </c:pt>
                <c:pt idx="8">
                  <c:v>Equate Easy Fit 5 blades 1 Handle + 2 Cartridges (1.1%)</c:v>
                </c:pt>
                <c:pt idx="9">
                  <c:v>Harry's 5 Blade 1 Handle + 2 Cartridges (3.9%)</c:v>
                </c:pt>
              </c:strCache>
            </c:strRef>
          </c:cat>
          <c:val>
            <c:numRef>
              <c:f>Sheet1!$B$2:$B$11</c:f>
              <c:numCache>
                <c:formatCode>General</c:formatCode>
                <c:ptCount val="10"/>
                <c:pt idx="0">
                  <c:v>0.12425833871892039</c:v>
                </c:pt>
                <c:pt idx="1">
                  <c:v>8.3465460022146776E-2</c:v>
                </c:pt>
                <c:pt idx="2">
                  <c:v>7.863344115050494E-2</c:v>
                </c:pt>
                <c:pt idx="3">
                  <c:v>6.2243956819423359E-2</c:v>
                </c:pt>
                <c:pt idx="4">
                  <c:v>5.6611694196067791E-2</c:v>
                </c:pt>
                <c:pt idx="5">
                  <c:v>5.481767152341243E-2</c:v>
                </c:pt>
                <c:pt idx="6">
                  <c:v>4.8539042206887227E-2</c:v>
                </c:pt>
                <c:pt idx="7">
                  <c:v>4.5710860840196335E-2</c:v>
                </c:pt>
                <c:pt idx="8">
                  <c:v>4.5265857017885366E-2</c:v>
                </c:pt>
                <c:pt idx="9">
                  <c:v>4.369210294545865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5 Blades 1 Handle + 2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Equate 2 Blade Disposable Razors 5 Pack (5.5%)</c:v>
                </c:pt>
                <c:pt idx="2">
                  <c:v>Equate Caliber 5 Disposable Razors 3 Pack (2.2%)</c:v>
                </c:pt>
                <c:pt idx="3">
                  <c:v>Dollar Shave Club 6 1 Handle + 2 Blades (2.0%)</c:v>
                </c:pt>
                <c:pt idx="4">
                  <c:v>None Razors (12.2%)</c:v>
                </c:pt>
                <c:pt idx="5">
                  <c:v>Equate Easy Fit 5 blades 1 Handle + 2 Cartridges (1.1%)</c:v>
                </c:pt>
                <c:pt idx="6">
                  <c:v>Equate Speed 3 Disposable Razors 4 Pack (2.3%)</c:v>
                </c:pt>
                <c:pt idx="7">
                  <c:v>Schick Hydro 5 Blade Sensitive 1 Handle + 3 Cartridges (2.0%)</c:v>
                </c:pt>
                <c:pt idx="8">
                  <c:v>Schick Xtreme 3 Sensitive Disposable Razors 4 Pack (2.8%)</c:v>
                </c:pt>
                <c:pt idx="9">
                  <c:v>Equate Caliber 3 Disposable Razors 3 Pack (1.4%)</c:v>
                </c:pt>
              </c:strCache>
            </c:strRef>
          </c:cat>
          <c:val>
            <c:numRef>
              <c:f>Sheet1!$B$2:$B$11</c:f>
              <c:numCache>
                <c:formatCode>General</c:formatCode>
                <c:ptCount val="10"/>
                <c:pt idx="0">
                  <c:v>0.11848457265279295</c:v>
                </c:pt>
                <c:pt idx="1">
                  <c:v>6.8730534770309618E-2</c:v>
                </c:pt>
                <c:pt idx="2">
                  <c:v>6.64043399844223E-2</c:v>
                </c:pt>
                <c:pt idx="3">
                  <c:v>6.2279675735963776E-2</c:v>
                </c:pt>
                <c:pt idx="4">
                  <c:v>5.9451486047839425E-2</c:v>
                </c:pt>
                <c:pt idx="5">
                  <c:v>5.8447305711832619E-2</c:v>
                </c:pt>
                <c:pt idx="6">
                  <c:v>5.7625163906094491E-2</c:v>
                </c:pt>
                <c:pt idx="7">
                  <c:v>5.4593784204535305E-2</c:v>
                </c:pt>
                <c:pt idx="8">
                  <c:v>4.1217133696942458E-2</c:v>
                </c:pt>
                <c:pt idx="9">
                  <c:v>3.963542747544243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B$2:$B$26</c:f>
              <c:numCache>
                <c:formatCode>General</c:formatCode>
                <c:ptCount val="25"/>
                <c:pt idx="0">
                  <c:v>116.46554799410663</c:v>
                </c:pt>
                <c:pt idx="1">
                  <c:v>113.42408630385161</c:v>
                </c:pt>
                <c:pt idx="2">
                  <c:v>110.7063462533706</c:v>
                </c:pt>
                <c:pt idx="3">
                  <c:v>108.25727624913083</c:v>
                </c:pt>
                <c:pt idx="4">
                  <c:v>106.03315688291141</c:v>
                </c:pt>
                <c:pt idx="5">
                  <c:v>104.72898021326603</c:v>
                </c:pt>
                <c:pt idx="6">
                  <c:v>103.47703847461125</c:v>
                </c:pt>
                <c:pt idx="7">
                  <c:v>102.27370834182921</c:v>
                </c:pt>
                <c:pt idx="8">
                  <c:v>101.11569567259519</c:v>
                </c:pt>
                <c:pt idx="9">
                  <c:v>100</c:v>
                </c:pt>
                <c:pt idx="10">
                  <c:v>98.923883379289833</c:v>
                </c:pt>
                <c:pt idx="11">
                  <c:v>97.884842995170501</c:v>
                </c:pt>
                <c:pt idx="12">
                  <c:v>96.880587024300951</c:v>
                </c:pt>
                <c:pt idx="13">
                  <c:v>94.735053700294515</c:v>
                </c:pt>
                <c:pt idx="14">
                  <c:v>92.718190393867431</c:v>
                </c:pt>
                <c:pt idx="15">
                  <c:v>90.817239391296212</c:v>
                </c:pt>
                <c:pt idx="16">
                  <c:v>89.021045636440164</c:v>
                </c:pt>
                <c:pt idx="17">
                  <c:v>87.805134352835296</c:v>
                </c:pt>
                <c:pt idx="18">
                  <c:v>87.109613932719014</c:v>
                </c:pt>
                <c:pt idx="19">
                  <c:v>86.43011934191729</c:v>
                </c:pt>
                <c:pt idx="20">
                  <c:v>85.765974610801024</c:v>
                </c:pt>
                <c:pt idx="21">
                  <c:v>85.116543766625654</c:v>
                </c:pt>
                <c:pt idx="22">
                  <c:v>84.481227883519367</c:v>
                </c:pt>
                <c:pt idx="23">
                  <c:v>83.859462387002253</c:v>
                </c:pt>
                <c:pt idx="24">
                  <c:v>83.25071458830382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C$2:$C$26</c:f>
              <c:numCache>
                <c:formatCode>General</c:formatCode>
                <c:ptCount val="25"/>
                <c:pt idx="0">
                  <c:v>99.023241919630195</c:v>
                </c:pt>
                <c:pt idx="1">
                  <c:v>98.32702232569352</c:v>
                </c:pt>
                <c:pt idx="2">
                  <c:v>97.815079411800355</c:v>
                </c:pt>
                <c:pt idx="3">
                  <c:v>97.454098070631517</c:v>
                </c:pt>
                <c:pt idx="4">
                  <c:v>97.21747198988713</c:v>
                </c:pt>
                <c:pt idx="5">
                  <c:v>97.76350535606278</c:v>
                </c:pt>
                <c:pt idx="6">
                  <c:v>98.315624083793381</c:v>
                </c:pt>
                <c:pt idx="7">
                  <c:v>98.872938600678822</c:v>
                </c:pt>
                <c:pt idx="8">
                  <c:v>99.434641612910227</c:v>
                </c:pt>
                <c:pt idx="9">
                  <c:v>100</c:v>
                </c:pt>
                <c:pt idx="10">
                  <c:v>100.56834759051263</c:v>
                </c:pt>
                <c:pt idx="11">
                  <c:v>101.13907871256687</c:v>
                </c:pt>
                <c:pt idx="12">
                  <c:v>101.71164242648587</c:v>
                </c:pt>
                <c:pt idx="13">
                  <c:v>101.03597449023702</c:v>
                </c:pt>
                <c:pt idx="14">
                  <c:v>100.42815996777519</c:v>
                </c:pt>
                <c:pt idx="15">
                  <c:v>99.880604710546123</c:v>
                </c:pt>
                <c:pt idx="16">
                  <c:v>99.386652760560764</c:v>
                </c:pt>
                <c:pt idx="17">
                  <c:v>99.489334354019149</c:v>
                </c:pt>
                <c:pt idx="18">
                  <c:v>100.14874838277186</c:v>
                </c:pt>
                <c:pt idx="19">
                  <c:v>100.80361687655932</c:v>
                </c:pt>
                <c:pt idx="20">
                  <c:v>101.45394345316576</c:v>
                </c:pt>
                <c:pt idx="21">
                  <c:v>102.09973458427461</c:v>
                </c:pt>
                <c:pt idx="22">
                  <c:v>102.74099934300165</c:v>
                </c:pt>
                <c:pt idx="23">
                  <c:v>103.3777491701198</c:v>
                </c:pt>
                <c:pt idx="24">
                  <c:v>104.0099976577730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D$2:$D$26</c:f>
              <c:numCache>
                <c:formatCode>General</c:formatCode>
                <c:ptCount val="25"/>
                <c:pt idx="0">
                  <c:v>73.742729809029143</c:v>
                </c:pt>
                <c:pt idx="1">
                  <c:v>76.43997516691546</c:v>
                </c:pt>
                <c:pt idx="2">
                  <c:v>79.120649127924253</c:v>
                </c:pt>
                <c:pt idx="3">
                  <c:v>81.782746455780185</c:v>
                </c:pt>
                <c:pt idx="4">
                  <c:v>84.424309359046518</c:v>
                </c:pt>
                <c:pt idx="5">
                  <c:v>87.654528173647122</c:v>
                </c:pt>
                <c:pt idx="6">
                  <c:v>90.824281851955206</c:v>
                </c:pt>
                <c:pt idx="7">
                  <c:v>93.936629510160543</c:v>
                </c:pt>
                <c:pt idx="8">
                  <c:v>96.994355302674052</c:v>
                </c:pt>
                <c:pt idx="9">
                  <c:v>100</c:v>
                </c:pt>
                <c:pt idx="10">
                  <c:v>102.95588841479425</c:v>
                </c:pt>
                <c:pt idx="11">
                  <c:v>105.86415327644711</c:v>
                </c:pt>
                <c:pt idx="12">
                  <c:v>108.72675605994921</c:v>
                </c:pt>
                <c:pt idx="13">
                  <c:v>110.18014948545807</c:v>
                </c:pt>
                <c:pt idx="14">
                  <c:v>111.61353688555182</c:v>
                </c:pt>
                <c:pt idx="15">
                  <c:v>113.02677387544158</c:v>
                </c:pt>
                <c:pt idx="16">
                  <c:v>114.41969603384253</c:v>
                </c:pt>
                <c:pt idx="17">
                  <c:v>116.43569205113072</c:v>
                </c:pt>
                <c:pt idx="18">
                  <c:v>119.06385501359351</c:v>
                </c:pt>
                <c:pt idx="19">
                  <c:v>121.65787875666932</c:v>
                </c:pt>
                <c:pt idx="20">
                  <c:v>124.21874381697853</c:v>
                </c:pt>
                <c:pt idx="21">
                  <c:v>126.74738008419189</c:v>
                </c:pt>
                <c:pt idx="22">
                  <c:v>129.24467043901439</c:v>
                </c:pt>
                <c:pt idx="23">
                  <c:v>131.71145406951098</c:v>
                </c:pt>
                <c:pt idx="24">
                  <c:v>134.1485294985388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E$2:$E$26</c:f>
              <c:numCache>
                <c:formatCode>General</c:formatCode>
                <c:ptCount val="25"/>
                <c:pt idx="0">
                  <c:v>0.30549975727555628</c:v>
                </c:pt>
                <c:pt idx="1">
                  <c:v>0.31889416889994293</c:v>
                </c:pt>
                <c:pt idx="2">
                  <c:v>0.33178169645150507</c:v>
                </c:pt>
                <c:pt idx="3">
                  <c:v>0.34419057859725233</c:v>
                </c:pt>
                <c:pt idx="4">
                  <c:v>0.35614699466658228</c:v>
                </c:pt>
                <c:pt idx="5">
                  <c:v>0.36767524901453974</c:v>
                </c:pt>
                <c:pt idx="6">
                  <c:v>0.37879793592721273</c:v>
                </c:pt>
                <c:pt idx="7">
                  <c:v>0.38953608742371726</c:v>
                </c:pt>
                <c:pt idx="8">
                  <c:v>0.39990930598915964</c:v>
                </c:pt>
                <c:pt idx="9">
                  <c:v>0.40993588400103664</c:v>
                </c:pt>
                <c:pt idx="10">
                  <c:v>0.4196329113798199</c:v>
                </c:pt>
                <c:pt idx="11">
                  <c:v>0.42901637279647603</c:v>
                </c:pt>
                <c:pt idx="12">
                  <c:v>0.43810123560003245</c:v>
                </c:pt>
                <c:pt idx="13">
                  <c:v>0.44690152948256923</c:v>
                </c:pt>
                <c:pt idx="14">
                  <c:v>0.45543041877350876</c:v>
                </c:pt>
                <c:pt idx="15">
                  <c:v>0.46370026814672805</c:v>
                </c:pt>
                <c:pt idx="16">
                  <c:v>0.4717227024302475</c:v>
                </c:pt>
                <c:pt idx="17">
                  <c:v>0.47950866112692758</c:v>
                </c:pt>
                <c:pt idx="18">
                  <c:v>0.48706844818390771</c:v>
                </c:pt>
                <c:pt idx="19">
                  <c:v>0.49441177748692972</c:v>
                </c:pt>
                <c:pt idx="20">
                  <c:v>0.5015478145019342</c:v>
                </c:pt>
                <c:pt idx="21">
                  <c:v>0.50848521443927686</c:v>
                </c:pt>
                <c:pt idx="22">
                  <c:v>0.51523215727470206</c:v>
                </c:pt>
                <c:pt idx="23">
                  <c:v>0.52179637992501071</c:v>
                </c:pt>
                <c:pt idx="24">
                  <c:v>0.5281852058445162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Easy Fit 5 blades 1 Handle + 5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Easy Fit 5 blades 1 Handle + 2 Cartridges (1.1%)</c:v>
                </c:pt>
                <c:pt idx="1">
                  <c:v>None Razors (12.2%)</c:v>
                </c:pt>
                <c:pt idx="2">
                  <c:v>Schick Hydro 5 Blade Sensitive 1 Handle + 3 Cartridges (2.0%)</c:v>
                </c:pt>
                <c:pt idx="3">
                  <c:v>Equate Caliber 5 Disposable Razors 3 Pack (2.2%)</c:v>
                </c:pt>
                <c:pt idx="4">
                  <c:v>Gillette Fusion 5 1 Handle + 2 Cartridges (2.9%)</c:v>
                </c:pt>
                <c:pt idx="5">
                  <c:v>Gillette Mach 3 1 Handle + 2 Cartridges (2.7%)</c:v>
                </c:pt>
                <c:pt idx="6">
                  <c:v>Equate 2 Blade Disposable Razors 5 Pack (5.5%)</c:v>
                </c:pt>
                <c:pt idx="7">
                  <c:v>Dollar Shave Club 6 1 Handle + 2 Blades (2.0%)</c:v>
                </c:pt>
                <c:pt idx="8">
                  <c:v>Equate 2 Blade Disposable Razors 12 Pack (5.7%)</c:v>
                </c:pt>
                <c:pt idx="9">
                  <c:v>Gillette Fusion 5 1 Handle + 3 Cartridges Holiday Pack (1.7%)</c:v>
                </c:pt>
              </c:strCache>
            </c:strRef>
          </c:cat>
          <c:val>
            <c:numRef>
              <c:f>Sheet1!$B$2:$B$11</c:f>
              <c:numCache>
                <c:formatCode>General</c:formatCode>
                <c:ptCount val="10"/>
                <c:pt idx="0">
                  <c:v>0.12330803873138775</c:v>
                </c:pt>
                <c:pt idx="1">
                  <c:v>9.1849040217214462E-2</c:v>
                </c:pt>
                <c:pt idx="2">
                  <c:v>6.6503123572648773E-2</c:v>
                </c:pt>
                <c:pt idx="3">
                  <c:v>5.5112156385721964E-2</c:v>
                </c:pt>
                <c:pt idx="4">
                  <c:v>5.2827093802923192E-2</c:v>
                </c:pt>
                <c:pt idx="5">
                  <c:v>4.4833350438036643E-2</c:v>
                </c:pt>
                <c:pt idx="6">
                  <c:v>4.4800073200623146E-2</c:v>
                </c:pt>
                <c:pt idx="7">
                  <c:v>4.340647223083343E-2</c:v>
                </c:pt>
                <c:pt idx="8">
                  <c:v>4.0745068788541616E-2</c:v>
                </c:pt>
                <c:pt idx="9">
                  <c:v>3.066131210504175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Easy Fit 5 blades 1 Handle + 5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Easy Fit 5 blades 1 Handle + 2 Cartridges (1.1%)</c:v>
                </c:pt>
                <c:pt idx="1">
                  <c:v>None Razors (12.2%)</c:v>
                </c:pt>
                <c:pt idx="2">
                  <c:v>Schick Hydro 5 Blade Sensitive 1 Handle + 3 Cartridges (2.0%)</c:v>
                </c:pt>
                <c:pt idx="3">
                  <c:v>Gillette Fusion 5 1 Handle + 2 Cartridges (2.9%)</c:v>
                </c:pt>
                <c:pt idx="4">
                  <c:v>Gillette Mach 3 1 Handle + 2 Cartridges (2.7%)</c:v>
                </c:pt>
                <c:pt idx="5">
                  <c:v>Dollar Shave Club 6 1 Handle + 2 Blades (2.0%)</c:v>
                </c:pt>
                <c:pt idx="6">
                  <c:v>Equate Caliber 5 Disposable Razors 3 Pack (2.2%)</c:v>
                </c:pt>
                <c:pt idx="7">
                  <c:v>Harry's 5 Blade 1 Handle + 2 Cartridges (3.9%)</c:v>
                </c:pt>
                <c:pt idx="8">
                  <c:v>Equate 2 Blade Disposable Razors 5 Pack (5.5%)</c:v>
                </c:pt>
                <c:pt idx="9">
                  <c:v>Equate 2 Blade Disposable Razors 12 Pack (5.7%)</c:v>
                </c:pt>
              </c:strCache>
            </c:strRef>
          </c:cat>
          <c:val>
            <c:numRef>
              <c:f>Sheet1!$B$2:$B$11</c:f>
              <c:numCache>
                <c:formatCode>General</c:formatCode>
                <c:ptCount val="10"/>
                <c:pt idx="0">
                  <c:v>0.10747960925480719</c:v>
                </c:pt>
                <c:pt idx="1">
                  <c:v>0.10699988106501258</c:v>
                </c:pt>
                <c:pt idx="2">
                  <c:v>7.5107936919732485E-2</c:v>
                </c:pt>
                <c:pt idx="3">
                  <c:v>5.8667353275858092E-2</c:v>
                </c:pt>
                <c:pt idx="4">
                  <c:v>5.2024653217830126E-2</c:v>
                </c:pt>
                <c:pt idx="5">
                  <c:v>4.6054423934098934E-2</c:v>
                </c:pt>
                <c:pt idx="6">
                  <c:v>4.0048838001057428E-2</c:v>
                </c:pt>
                <c:pt idx="7">
                  <c:v>4.0015958223628488E-2</c:v>
                </c:pt>
                <c:pt idx="8">
                  <c:v>3.4446398920899325E-2</c:v>
                </c:pt>
                <c:pt idx="9">
                  <c:v>3.324370081871665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Easy Fit 5 blades 1 Handle + 2 Cartridges</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6.7700000000000005</c:v>
                </c:pt>
                <c:pt idx="1">
                  <c:v>7.2700000000000005</c:v>
                </c:pt>
                <c:pt idx="2">
                  <c:v>7.97</c:v>
                </c:pt>
                <c:pt idx="3">
                  <c:v>8.77</c:v>
                </c:pt>
                <c:pt idx="4">
                  <c:v>9.9700000000000006</c:v>
                </c:pt>
              </c:numCache>
            </c:numRef>
          </c:xVal>
          <c:yVal>
            <c:numRef>
              <c:f>Sheet1!$B$2:$B$6</c:f>
              <c:numCache>
                <c:formatCode>General</c:formatCode>
                <c:ptCount val="5"/>
                <c:pt idx="0">
                  <c:v>0.19374800945326123</c:v>
                </c:pt>
                <c:pt idx="1">
                  <c:v>9.6088749695054765E-2</c:v>
                </c:pt>
                <c:pt idx="2">
                  <c:v>0</c:v>
                </c:pt>
                <c:pt idx="3">
                  <c:v>-9.5517736817267204E-2</c:v>
                </c:pt>
                <c:pt idx="4">
                  <c:v>-0.1568691482261674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9.9700000000000006"/>
          <c:min val="6.770000000000000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arrys (1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 (38.7%)</c:v>
                </c:pt>
                <c:pt idx="1">
                  <c:v>Dollar Shave Club (2.9%)</c:v>
                </c:pt>
                <c:pt idx="2">
                  <c:v>Bic (16.9%)</c:v>
                </c:pt>
                <c:pt idx="3">
                  <c:v>Equate (21.7%)</c:v>
                </c:pt>
                <c:pt idx="4">
                  <c:v>Schick (11.2%)</c:v>
                </c:pt>
                <c:pt idx="5">
                  <c:v>Van Der Hagen (2.0%)</c:v>
                </c:pt>
              </c:strCache>
            </c:strRef>
          </c:cat>
          <c:val>
            <c:numRef>
              <c:f>Sheet1!$B$2:$B$7</c:f>
              <c:numCache>
                <c:formatCode>General</c:formatCode>
                <c:ptCount val="6"/>
                <c:pt idx="0">
                  <c:v>0.17885668077599565</c:v>
                </c:pt>
                <c:pt idx="1">
                  <c:v>0.17226310718871601</c:v>
                </c:pt>
                <c:pt idx="2">
                  <c:v>0.10737719928971745</c:v>
                </c:pt>
                <c:pt idx="3">
                  <c:v>8.5099653724758278E-2</c:v>
                </c:pt>
                <c:pt idx="4">
                  <c:v>4.0994553625355812E-2</c:v>
                </c:pt>
                <c:pt idx="5">
                  <c:v>3.008665794069141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B$2:$B$18</c:f>
              <c:numCache>
                <c:formatCode>General</c:formatCode>
                <c:ptCount val="17"/>
                <c:pt idx="0">
                  <c:v>119.3748009453262</c:v>
                </c:pt>
                <c:pt idx="1">
                  <c:v>114.82349383763932</c:v>
                </c:pt>
                <c:pt idx="2">
                  <c:v>111.15708900290264</c:v>
                </c:pt>
                <c:pt idx="3">
                  <c:v>108.10856901998163</c:v>
                </c:pt>
                <c:pt idx="4">
                  <c:v>105.24320977313705</c:v>
                </c:pt>
                <c:pt idx="5">
                  <c:v>102.54512391390102</c:v>
                </c:pt>
                <c:pt idx="6">
                  <c:v>100</c:v>
                </c:pt>
                <c:pt idx="7">
                  <c:v>97.451135575173467</c:v>
                </c:pt>
                <c:pt idx="8">
                  <c:v>94.942535254285431</c:v>
                </c:pt>
                <c:pt idx="9">
                  <c:v>92.615228724573441</c:v>
                </c:pt>
                <c:pt idx="10">
                  <c:v>90.44822631827337</c:v>
                </c:pt>
                <c:pt idx="11">
                  <c:v>88.423311953480095</c:v>
                </c:pt>
                <c:pt idx="12">
                  <c:v>87.564905573400722</c:v>
                </c:pt>
                <c:pt idx="13">
                  <c:v>86.725334651977931</c:v>
                </c:pt>
                <c:pt idx="14">
                  <c:v>85.903927989430485</c:v>
                </c:pt>
                <c:pt idx="15">
                  <c:v>85.100047296598802</c:v>
                </c:pt>
                <c:pt idx="16">
                  <c:v>84.313085177383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C$2:$C$18</c:f>
              <c:numCache>
                <c:formatCode>General</c:formatCode>
                <c:ptCount val="17"/>
                <c:pt idx="0">
                  <c:v>101.55773967193812</c:v>
                </c:pt>
                <c:pt idx="1">
                  <c:v>100.5470184864504</c:v>
                </c:pt>
                <c:pt idx="2">
                  <c:v>100.10329318453192</c:v>
                </c:pt>
                <c:pt idx="3">
                  <c:v>100.04618892745142</c:v>
                </c:pt>
                <c:pt idx="4">
                  <c:v>100.01113695953143</c:v>
                </c:pt>
                <c:pt idx="5">
                  <c:v>99.996341502310031</c:v>
                </c:pt>
                <c:pt idx="6">
                  <c:v>100</c:v>
                </c:pt>
                <c:pt idx="7">
                  <c:v>99.874359516125295</c:v>
                </c:pt>
                <c:pt idx="8">
                  <c:v>99.665125218819881</c:v>
                </c:pt>
                <c:pt idx="9">
                  <c:v>99.525408501179285</c:v>
                </c:pt>
                <c:pt idx="10">
                  <c:v>99.445702856162455</c:v>
                </c:pt>
                <c:pt idx="11">
                  <c:v>99.417530407840246</c:v>
                </c:pt>
                <c:pt idx="12">
                  <c:v>100.62463375599557</c:v>
                </c:pt>
                <c:pt idx="13">
                  <c:v>101.81066928231375</c:v>
                </c:pt>
                <c:pt idx="14">
                  <c:v>102.97626391166688</c:v>
                </c:pt>
                <c:pt idx="15">
                  <c:v>104.12201659615421</c:v>
                </c:pt>
                <c:pt idx="16">
                  <c:v>105.2484999878793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D$2:$D$18</c:f>
              <c:numCache>
                <c:formatCode>General</c:formatCode>
                <c:ptCount val="17"/>
                <c:pt idx="0">
                  <c:v>72.757325011331204</c:v>
                </c:pt>
                <c:pt idx="1">
                  <c:v>77.456719762451854</c:v>
                </c:pt>
                <c:pt idx="2">
                  <c:v>82.218190226663395</c:v>
                </c:pt>
                <c:pt idx="3">
                  <c:v>86.999639100777586</c:v>
                </c:pt>
                <c:pt idx="4">
                  <c:v>91.543577019926829</c:v>
                </c:pt>
                <c:pt idx="5">
                  <c:v>95.870914046674613</c:v>
                </c:pt>
                <c:pt idx="6">
                  <c:v>100</c:v>
                </c:pt>
                <c:pt idx="7">
                  <c:v>103.79380020712917</c:v>
                </c:pt>
                <c:pt idx="8">
                  <c:v>107.3013170554691</c:v>
                </c:pt>
                <c:pt idx="9">
                  <c:v>110.69897907221436</c:v>
                </c:pt>
                <c:pt idx="10">
                  <c:v>113.99573092993629</c:v>
                </c:pt>
                <c:pt idx="11">
                  <c:v>117.19872898980104</c:v>
                </c:pt>
                <c:pt idx="12">
                  <c:v>121.76018670396469</c:v>
                </c:pt>
                <c:pt idx="13">
                  <c:v>126.23732152432352</c:v>
                </c:pt>
                <c:pt idx="14">
                  <c:v>130.63279051843301</c:v>
                </c:pt>
                <c:pt idx="15">
                  <c:v>134.94912820080037</c:v>
                </c:pt>
                <c:pt idx="16">
                  <c:v>139.1887539122178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E$2:$E$18</c:f>
              <c:numCache>
                <c:formatCode>General</c:formatCode>
                <c:ptCount val="17"/>
                <c:pt idx="0">
                  <c:v>0.27664354778382538</c:v>
                </c:pt>
                <c:pt idx="1">
                  <c:v>0.2973998304873024</c:v>
                </c:pt>
                <c:pt idx="2">
                  <c:v>0.31699816157552269</c:v>
                </c:pt>
                <c:pt idx="3">
                  <c:v>0.33553281119355455</c:v>
                </c:pt>
                <c:pt idx="4">
                  <c:v>0.35308808698764826</c:v>
                </c:pt>
                <c:pt idx="5">
                  <c:v>0.36973961628011537</c:v>
                </c:pt>
                <c:pt idx="6">
                  <c:v>0.38555543519403995</c:v>
                </c:pt>
                <c:pt idx="7">
                  <c:v>0.40059691780862872</c:v>
                </c:pt>
                <c:pt idx="8">
                  <c:v>0.41491957210232927</c:v>
                </c:pt>
                <c:pt idx="9">
                  <c:v>0.42857372444533226</c:v>
                </c:pt>
                <c:pt idx="10">
                  <c:v>0.44160511043289602</c:v>
                </c:pt>
                <c:pt idx="11">
                  <c:v>0.45405538667742446</c:v>
                </c:pt>
                <c:pt idx="12">
                  <c:v>0.46596257562666271</c:v>
                </c:pt>
                <c:pt idx="13">
                  <c:v>0.47736145341478087</c:v>
                </c:pt>
                <c:pt idx="14">
                  <c:v>0.48828388908009385</c:v>
                </c:pt>
                <c:pt idx="15">
                  <c:v>0.49875914211837225</c:v>
                </c:pt>
                <c:pt idx="16">
                  <c:v>0.5088141242223166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Easy Fit 5 blades 1 Handle + 2 Cartridges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Razors (12.2%)</c:v>
                </c:pt>
                <c:pt idx="1">
                  <c:v>Equate 2 Blade Disposable Razors 5 Pack (5.5%)</c:v>
                </c:pt>
                <c:pt idx="2">
                  <c:v>Equate 2 Blade Disposable Razors 12 Pack (5.7%)</c:v>
                </c:pt>
                <c:pt idx="3">
                  <c:v>Equate Caliber 5 Disposable Razors 3 Pack (2.2%)</c:v>
                </c:pt>
                <c:pt idx="4">
                  <c:v>Schick Hydro 5 Blade Sensitive 1 Handle + 3 Cartridges (2.0%)</c:v>
                </c:pt>
                <c:pt idx="5">
                  <c:v>Equate Speed 3 Disposable Razors 4 Pack (2.3%)</c:v>
                </c:pt>
                <c:pt idx="6">
                  <c:v>Dollar Shave Club 6 1 Handle + 2 Blades (2.0%)</c:v>
                </c:pt>
                <c:pt idx="7">
                  <c:v>Bic Men Sensitive Single Blade Disposable Razors 12 Pack (5.7%)</c:v>
                </c:pt>
                <c:pt idx="8">
                  <c:v>Schick Xtreme 3 Sensitive Disposable Razors 4 Pack (2.8%)</c:v>
                </c:pt>
                <c:pt idx="9">
                  <c:v>Gillette Mach 3 1 Handle + 2 Cartridges (2.7%)</c:v>
                </c:pt>
              </c:strCache>
            </c:strRef>
          </c:cat>
          <c:val>
            <c:numRef>
              <c:f>Sheet1!$B$2:$B$11</c:f>
              <c:numCache>
                <c:formatCode>General</c:formatCode>
                <c:ptCount val="10"/>
                <c:pt idx="0">
                  <c:v>0.10920030792383489</c:v>
                </c:pt>
                <c:pt idx="1">
                  <c:v>9.5050428878841076E-2</c:v>
                </c:pt>
                <c:pt idx="2">
                  <c:v>8.4446927255333357E-2</c:v>
                </c:pt>
                <c:pt idx="3">
                  <c:v>7.8625099085548017E-2</c:v>
                </c:pt>
                <c:pt idx="4">
                  <c:v>7.302540696231552E-2</c:v>
                </c:pt>
                <c:pt idx="5">
                  <c:v>4.0014658407324863E-2</c:v>
                </c:pt>
                <c:pt idx="6">
                  <c:v>3.9059150364613049E-2</c:v>
                </c:pt>
                <c:pt idx="7">
                  <c:v>3.9036979951047907E-2</c:v>
                </c:pt>
                <c:pt idx="8">
                  <c:v>3.3876725263618686E-2</c:v>
                </c:pt>
                <c:pt idx="9">
                  <c:v>3.271847726697215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Easy Fit 5 blades 1 Handle + 2 Cartridges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Caliber 5 Disposable Razors 3 Pack (2.2%)</c:v>
                </c:pt>
                <c:pt idx="1">
                  <c:v>None Razors (12.2%)</c:v>
                </c:pt>
                <c:pt idx="2">
                  <c:v>Equate 2 Blade Disposable Razors 5 Pack (5.5%)</c:v>
                </c:pt>
                <c:pt idx="3">
                  <c:v>Equate 2 Blade Disposable Razors 12 Pack (5.7%)</c:v>
                </c:pt>
                <c:pt idx="4">
                  <c:v>None Blades (83.2%)</c:v>
                </c:pt>
                <c:pt idx="5">
                  <c:v>Bic Men Sensitive Single Blade Disposable Razors 12 Pack (5.7%)</c:v>
                </c:pt>
                <c:pt idx="6">
                  <c:v>Schick Hydro 5 Blade Sensitive 1 Handle + 3 Cartridges (2.0%)</c:v>
                </c:pt>
                <c:pt idx="7">
                  <c:v>Dollar Shave Club 6 1 Handle + 2 Blades (2.0%)</c:v>
                </c:pt>
                <c:pt idx="8">
                  <c:v>Gillette Fusion 5 1 Handle + 2 Cartridges (2.9%)</c:v>
                </c:pt>
                <c:pt idx="9">
                  <c:v>Equate Speed 3 Disposable Razors 4 Pack (2.3%)</c:v>
                </c:pt>
              </c:strCache>
            </c:strRef>
          </c:cat>
          <c:val>
            <c:numRef>
              <c:f>Sheet1!$B$2:$B$11</c:f>
              <c:numCache>
                <c:formatCode>General</c:formatCode>
                <c:ptCount val="10"/>
                <c:pt idx="0">
                  <c:v>0.12217518301140629</c:v>
                </c:pt>
                <c:pt idx="1">
                  <c:v>0.10772091149321655</c:v>
                </c:pt>
                <c:pt idx="2">
                  <c:v>8.0055982050029589E-2</c:v>
                </c:pt>
                <c:pt idx="3">
                  <c:v>6.7863111465486722E-2</c:v>
                </c:pt>
                <c:pt idx="4">
                  <c:v>5.718102815633256E-2</c:v>
                </c:pt>
                <c:pt idx="5">
                  <c:v>4.7396422246030273E-2</c:v>
                </c:pt>
                <c:pt idx="6">
                  <c:v>4.3879378485660446E-2</c:v>
                </c:pt>
                <c:pt idx="7">
                  <c:v>4.3658968002533771E-2</c:v>
                </c:pt>
                <c:pt idx="8">
                  <c:v>3.9420691052347079E-2</c:v>
                </c:pt>
                <c:pt idx="9">
                  <c:v>3.879822101270630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3 Blade Ultra Sensitive Refills 5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4700000000000006</c:v>
                </c:pt>
                <c:pt idx="1">
                  <c:v>8.9700000000000006</c:v>
                </c:pt>
                <c:pt idx="2">
                  <c:v>9.9700000000000006</c:v>
                </c:pt>
                <c:pt idx="3">
                  <c:v>10.97</c:v>
                </c:pt>
                <c:pt idx="4">
                  <c:v>12.47</c:v>
                </c:pt>
              </c:numCache>
            </c:numRef>
          </c:xVal>
          <c:yVal>
            <c:numRef>
              <c:f>Sheet1!$B$2:$B$6</c:f>
              <c:numCache>
                <c:formatCode>General</c:formatCode>
                <c:ptCount val="5"/>
                <c:pt idx="0">
                  <c:v>6.3968743411125684E-2</c:v>
                </c:pt>
                <c:pt idx="1">
                  <c:v>3.5646699425920407E-2</c:v>
                </c:pt>
                <c:pt idx="2">
                  <c:v>0</c:v>
                </c:pt>
                <c:pt idx="3">
                  <c:v>-7.6882341034167453E-2</c:v>
                </c:pt>
                <c:pt idx="4">
                  <c:v>-0.3125741128666594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5 Blade Sensitive Refills 6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2.57</c:v>
                </c:pt>
                <c:pt idx="1">
                  <c:v>13.47</c:v>
                </c:pt>
                <c:pt idx="2">
                  <c:v>14.97</c:v>
                </c:pt>
                <c:pt idx="3">
                  <c:v>15.97</c:v>
                </c:pt>
                <c:pt idx="4">
                  <c:v>18.57</c:v>
                </c:pt>
              </c:numCache>
            </c:numRef>
          </c:xVal>
          <c:yVal>
            <c:numRef>
              <c:f>Sheet1!$B$9:$B$13</c:f>
              <c:numCache>
                <c:formatCode>General</c:formatCode>
                <c:ptCount val="5"/>
                <c:pt idx="0">
                  <c:v>9.7017761966318325E-2</c:v>
                </c:pt>
                <c:pt idx="1">
                  <c:v>5.4699585228571754E-2</c:v>
                </c:pt>
                <c:pt idx="2">
                  <c:v>0</c:v>
                </c:pt>
                <c:pt idx="3">
                  <c:v>-3.5248623486349565E-2</c:v>
                </c:pt>
                <c:pt idx="4">
                  <c:v>-0.17714436026774763</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Hydro 5 Blade Sensitive Refills 12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2.97</c:v>
                </c:pt>
                <c:pt idx="1">
                  <c:v>23.97</c:v>
                </c:pt>
                <c:pt idx="2">
                  <c:v>26.97</c:v>
                </c:pt>
                <c:pt idx="3">
                  <c:v>29.67</c:v>
                </c:pt>
                <c:pt idx="4">
                  <c:v>34.169999999999995</c:v>
                </c:pt>
              </c:numCache>
            </c:numRef>
          </c:xVal>
          <c:yVal>
            <c:numRef>
              <c:f>Sheet1!$B$16:$B$20</c:f>
              <c:numCache>
                <c:formatCode>General</c:formatCode>
                <c:ptCount val="5"/>
                <c:pt idx="0">
                  <c:v>0.19020048617453711</c:v>
                </c:pt>
                <c:pt idx="1">
                  <c:v>0.14528550416445754</c:v>
                </c:pt>
                <c:pt idx="2">
                  <c:v>0</c:v>
                </c:pt>
                <c:pt idx="3">
                  <c:v>-6.2575326143610249E-2</c:v>
                </c:pt>
                <c:pt idx="4">
                  <c:v>-0.1553508716669801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4.169999999999995"/>
          <c:min val="8.4700000000000006"/>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B$2:$B$21</c:f>
              <c:numCache>
                <c:formatCode>General</c:formatCode>
                <c:ptCount val="20"/>
                <c:pt idx="0">
                  <c:v>105.80809559646632</c:v>
                </c:pt>
                <c:pt idx="1">
                  <c:v>104.67340537418299</c:v>
                </c:pt>
                <c:pt idx="2">
                  <c:v>103.5567583879337</c:v>
                </c:pt>
                <c:pt idx="3">
                  <c:v>102.8334328149195</c:v>
                </c:pt>
                <c:pt idx="4">
                  <c:v>102.11615618827852</c:v>
                </c:pt>
                <c:pt idx="5">
                  <c:v>101.4048661171075</c:v>
                </c:pt>
                <c:pt idx="6">
                  <c:v>100.69950099743276</c:v>
                </c:pt>
                <c:pt idx="7">
                  <c:v>100</c:v>
                </c:pt>
                <c:pt idx="8">
                  <c:v>98.401231335738203</c:v>
                </c:pt>
                <c:pt idx="9">
                  <c:v>96.835572988138878</c:v>
                </c:pt>
                <c:pt idx="10">
                  <c:v>95.302088985731459</c:v>
                </c:pt>
                <c:pt idx="11">
                  <c:v>93.799881420727189</c:v>
                </c:pt>
                <c:pt idx="12">
                  <c:v>92.328088257435198</c:v>
                </c:pt>
                <c:pt idx="13">
                  <c:v>88.575333392464586</c:v>
                </c:pt>
                <c:pt idx="14">
                  <c:v>85.034923979221617</c:v>
                </c:pt>
                <c:pt idx="15">
                  <c:v>81.693545695087849</c:v>
                </c:pt>
                <c:pt idx="16">
                  <c:v>78.538370314123213</c:v>
                </c:pt>
                <c:pt idx="17">
                  <c:v>75.557131404668937</c:v>
                </c:pt>
                <c:pt idx="18">
                  <c:v>72.73818222917366</c:v>
                </c:pt>
                <c:pt idx="19">
                  <c:v>70.07053464621057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C$2:$C$21</c:f>
              <c:numCache>
                <c:formatCode>General</c:formatCode>
                <c:ptCount val="20"/>
                <c:pt idx="0">
                  <c:v>90.981291461280094</c:v>
                </c:pt>
                <c:pt idx="1">
                  <c:v>92.100954689849317</c:v>
                </c:pt>
                <c:pt idx="2">
                  <c:v>93.191297260986147</c:v>
                </c:pt>
                <c:pt idx="3">
                  <c:v>94.599252451885292</c:v>
                </c:pt>
                <c:pt idx="4">
                  <c:v>95.98379333732251</c:v>
                </c:pt>
                <c:pt idx="5">
                  <c:v>97.345229095416599</c:v>
                </c:pt>
                <c:pt idx="6">
                  <c:v>98.683864501551611</c:v>
                </c:pt>
                <c:pt idx="7">
                  <c:v>100</c:v>
                </c:pt>
                <c:pt idx="8">
                  <c:v>100.36931073940316</c:v>
                </c:pt>
                <c:pt idx="9">
                  <c:v>100.7090380035737</c:v>
                </c:pt>
                <c:pt idx="10">
                  <c:v>101.02018371901802</c:v>
                </c:pt>
                <c:pt idx="11">
                  <c:v>101.30371546974388</c:v>
                </c:pt>
                <c:pt idx="12">
                  <c:v>101.56056793356676</c:v>
                </c:pt>
                <c:pt idx="13">
                  <c:v>99.200720555629033</c:v>
                </c:pt>
                <c:pt idx="14">
                  <c:v>96.933348457535018</c:v>
                </c:pt>
                <c:pt idx="15">
                  <c:v>94.755685468879676</c:v>
                </c:pt>
                <c:pt idx="16">
                  <c:v>92.664480499441225</c:v>
                </c:pt>
                <c:pt idx="17">
                  <c:v>90.656136530052649</c:v>
                </c:pt>
                <c:pt idx="18">
                  <c:v>88.726836937407228</c:v>
                </c:pt>
                <c:pt idx="19">
                  <c:v>86.87265519272578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D$2:$D$21</c:f>
              <c:numCache>
                <c:formatCode>General</c:formatCode>
                <c:ptCount val="20"/>
                <c:pt idx="0">
                  <c:v>85.576791910843909</c:v>
                </c:pt>
                <c:pt idx="1">
                  <c:v>87.518002180515197</c:v>
                </c:pt>
                <c:pt idx="2">
                  <c:v>89.412706271500099</c:v>
                </c:pt>
                <c:pt idx="3">
                  <c:v>91.597372277556744</c:v>
                </c:pt>
                <c:pt idx="4">
                  <c:v>93.747998394433878</c:v>
                </c:pt>
                <c:pt idx="5">
                  <c:v>95.865023932241556</c:v>
                </c:pt>
                <c:pt idx="6">
                  <c:v>97.948882079451067</c:v>
                </c:pt>
                <c:pt idx="7">
                  <c:v>100</c:v>
                </c:pt>
                <c:pt idx="8">
                  <c:v>101.08676105996229</c:v>
                </c:pt>
                <c:pt idx="9">
                  <c:v>102.12106794011295</c:v>
                </c:pt>
                <c:pt idx="10">
                  <c:v>103.10462794055259</c:v>
                </c:pt>
                <c:pt idx="11">
                  <c:v>104.03908778404815</c:v>
                </c:pt>
                <c:pt idx="12">
                  <c:v>104.92603636263071</c:v>
                </c:pt>
                <c:pt idx="13">
                  <c:v>103.07289826564956</c:v>
                </c:pt>
                <c:pt idx="14">
                  <c:v>101.26843351523924</c:v>
                </c:pt>
                <c:pt idx="15">
                  <c:v>99.513749455335784</c:v>
                </c:pt>
                <c:pt idx="16">
                  <c:v>97.809109573522719</c:v>
                </c:pt>
                <c:pt idx="17">
                  <c:v>96.154096313109022</c:v>
                </c:pt>
                <c:pt idx="18">
                  <c:v>94.547763004582919</c:v>
                </c:pt>
                <c:pt idx="19">
                  <c:v>92.98876995259911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E$2:$E$21</c:f>
              <c:numCache>
                <c:formatCode>General</c:formatCode>
                <c:ptCount val="20"/>
                <c:pt idx="0">
                  <c:v>0.69055337020269913</c:v>
                </c:pt>
                <c:pt idx="1">
                  <c:v>0.69761030588792849</c:v>
                </c:pt>
                <c:pt idx="2">
                  <c:v>0.70435255101863259</c:v>
                </c:pt>
                <c:pt idx="3">
                  <c:v>0.71080069603458373</c:v>
                </c:pt>
                <c:pt idx="4">
                  <c:v>0.71697357338710066</c:v>
                </c:pt>
                <c:pt idx="5">
                  <c:v>0.72288844123689988</c:v>
                </c:pt>
                <c:pt idx="6">
                  <c:v>0.72856114458926635</c:v>
                </c:pt>
                <c:pt idx="7">
                  <c:v>0.7340062570348177</c:v>
                </c:pt>
                <c:pt idx="8">
                  <c:v>0.73923720576569651</c:v>
                </c:pt>
                <c:pt idx="9">
                  <c:v>0.74426638212508511</c:v>
                </c:pt>
                <c:pt idx="10">
                  <c:v>0.74910523960616204</c:v>
                </c:pt>
                <c:pt idx="11">
                  <c:v>0.75376438093195297</c:v>
                </c:pt>
                <c:pt idx="12">
                  <c:v>0.7582536356095837</c:v>
                </c:pt>
                <c:pt idx="13">
                  <c:v>0.76258212915283197</c:v>
                </c:pt>
                <c:pt idx="14">
                  <c:v>0.76675834499886841</c:v>
                </c:pt>
                <c:pt idx="15">
                  <c:v>0.77079018000320942</c:v>
                </c:pt>
                <c:pt idx="16">
                  <c:v>0.77468499427673176</c:v>
                </c:pt>
                <c:pt idx="17">
                  <c:v>0.77844965602649396</c:v>
                </c:pt>
                <c:pt idx="18">
                  <c:v>0.78209058197511361</c:v>
                </c:pt>
                <c:pt idx="19">
                  <c:v>0.7856137738591053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3 Blade Ultra Sensitive Refills 5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None Razors (12.2%)</c:v>
                </c:pt>
                <c:pt idx="4">
                  <c:v>Schick Xtreme 3 Sensitive Disposable Razors 4 Pack (2.8%)</c:v>
                </c:pt>
                <c:pt idx="5">
                  <c:v>Schick Xtreme 3 Sensitive Disposable Razors 8 Pack (1.7%)</c:v>
                </c:pt>
                <c:pt idx="6">
                  <c:v>Schick Xtreme 2 Sensitive Disposable Razors 12 Pack (2.7%)</c:v>
                </c:pt>
                <c:pt idx="7">
                  <c:v>Equate Speed 3 Disposable Razors 4 Pack (2.3%)</c:v>
                </c:pt>
                <c:pt idx="8">
                  <c:v>Gillette Mach 3 1 Handle + 2 Cartridges (2.7%)</c:v>
                </c:pt>
                <c:pt idx="9">
                  <c:v>Bic Flex 4 Sensitive Skin Disposable Razors 3 Pack (1.7%)</c:v>
                </c:pt>
              </c:strCache>
            </c:strRef>
          </c:cat>
          <c:val>
            <c:numRef>
              <c:f>Sheet1!$B$2:$B$11</c:f>
              <c:numCache>
                <c:formatCode>General</c:formatCode>
                <c:ptCount val="10"/>
                <c:pt idx="0">
                  <c:v>0.53618075292600487</c:v>
                </c:pt>
                <c:pt idx="1">
                  <c:v>0.39275683897200586</c:v>
                </c:pt>
                <c:pt idx="2">
                  <c:v>6.7467802921353626E-2</c:v>
                </c:pt>
                <c:pt idx="3">
                  <c:v>6.6289985314103286E-3</c:v>
                </c:pt>
                <c:pt idx="4">
                  <c:v>5.8551165426911174E-3</c:v>
                </c:pt>
                <c:pt idx="5">
                  <c:v>3.7156046688832387E-3</c:v>
                </c:pt>
                <c:pt idx="6">
                  <c:v>3.2000350225531715E-3</c:v>
                </c:pt>
                <c:pt idx="7">
                  <c:v>3.0883376981724257E-3</c:v>
                </c:pt>
                <c:pt idx="8">
                  <c:v>2.548864816678429E-3</c:v>
                </c:pt>
                <c:pt idx="9">
                  <c:v>2.4816968750337731E-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3 Blade Ultra Sensitive Refills 5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None Razors (12.2%)</c:v>
                </c:pt>
                <c:pt idx="4">
                  <c:v>Schick Xtreme 3 Sensitive Disposable Razors 4 Pack (2.8%)</c:v>
                </c:pt>
                <c:pt idx="5">
                  <c:v>Schick Xtreme 3 Sensitive Disposable Razors 8 Pack (1.7%)</c:v>
                </c:pt>
                <c:pt idx="6">
                  <c:v>Schick Xtreme 2 Sensitive Disposable Razors 12 Pack (2.7%)</c:v>
                </c:pt>
                <c:pt idx="7">
                  <c:v>Equate Speed 3 Disposable Razors 4 Pack (2.3%)</c:v>
                </c:pt>
                <c:pt idx="8">
                  <c:v>Gillette Mach 3 1 Handle + 2 Cartridges (2.7%)</c:v>
                </c:pt>
                <c:pt idx="9">
                  <c:v>Bic Flex 4 Sensitive Skin Disposable Razors 3 Pack (1.7%)</c:v>
                </c:pt>
              </c:strCache>
            </c:strRef>
          </c:cat>
          <c:val>
            <c:numRef>
              <c:f>Sheet1!$B$2:$B$11</c:f>
              <c:numCache>
                <c:formatCode>General</c:formatCode>
                <c:ptCount val="10"/>
                <c:pt idx="0">
                  <c:v>0.57971567953737668</c:v>
                </c:pt>
                <c:pt idx="1">
                  <c:v>0.35828952944814901</c:v>
                </c:pt>
                <c:pt idx="2">
                  <c:v>6.0841658340859292E-2</c:v>
                </c:pt>
                <c:pt idx="3">
                  <c:v>2.1264765909230305E-3</c:v>
                </c:pt>
                <c:pt idx="4">
                  <c:v>1.878043340689826E-3</c:v>
                </c:pt>
                <c:pt idx="5">
                  <c:v>1.1918456960976918E-3</c:v>
                </c:pt>
                <c:pt idx="6">
                  <c:v>1.0264279191938711E-3</c:v>
                </c:pt>
                <c:pt idx="7">
                  <c:v>9.906093122096166E-4</c:v>
                </c:pt>
                <c:pt idx="8">
                  <c:v>8.1767412542323474E-4</c:v>
                </c:pt>
                <c:pt idx="9">
                  <c:v>7.9602381129836842E-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B$2:$B$32</c:f>
              <c:numCache>
                <c:formatCode>General</c:formatCode>
                <c:ptCount val="31"/>
                <c:pt idx="0">
                  <c:v>109.4204571736438</c:v>
                </c:pt>
                <c:pt idx="1">
                  <c:v>108.49581772295993</c:v>
                </c:pt>
                <c:pt idx="2">
                  <c:v>107.57806010731505</c:v>
                </c:pt>
                <c:pt idx="3">
                  <c:v>106.66719180676549</c:v>
                </c:pt>
                <c:pt idx="4">
                  <c:v>105.76321954964226</c:v>
                </c:pt>
                <c:pt idx="5">
                  <c:v>104.94909156560064</c:v>
                </c:pt>
                <c:pt idx="6">
                  <c:v>104.22375257085044</c:v>
                </c:pt>
                <c:pt idx="7">
                  <c:v>103.50414078561614</c:v>
                </c:pt>
                <c:pt idx="8">
                  <c:v>102.79051308464553</c:v>
                </c:pt>
                <c:pt idx="9">
                  <c:v>102.08309884704747</c:v>
                </c:pt>
                <c:pt idx="10">
                  <c:v>101.38209892546574</c:v>
                </c:pt>
                <c:pt idx="11">
                  <c:v>100.68768510053079</c:v>
                </c:pt>
                <c:pt idx="12">
                  <c:v>100</c:v>
                </c:pt>
                <c:pt idx="13">
                  <c:v>99.30492119976067</c:v>
                </c:pt>
                <c:pt idx="14">
                  <c:v>98.613426628038454</c:v>
                </c:pt>
                <c:pt idx="15">
                  <c:v>97.92562017407198</c:v>
                </c:pt>
                <c:pt idx="16">
                  <c:v>97.241602935900659</c:v>
                </c:pt>
                <c:pt idx="17">
                  <c:v>96.561472838558672</c:v>
                </c:pt>
                <c:pt idx="18">
                  <c:v>95.454678843480551</c:v>
                </c:pt>
                <c:pt idx="19">
                  <c:v>94.35254090376533</c:v>
                </c:pt>
                <c:pt idx="20">
                  <c:v>93.255489435040971</c:v>
                </c:pt>
                <c:pt idx="21">
                  <c:v>92.163920810909616</c:v>
                </c:pt>
                <c:pt idx="22">
                  <c:v>91.078196259629308</c:v>
                </c:pt>
                <c:pt idx="23">
                  <c:v>89.998641362577033</c:v>
                </c:pt>
                <c:pt idx="24">
                  <c:v>88.925546195833931</c:v>
                </c:pt>
                <c:pt idx="25">
                  <c:v>87.859166130332127</c:v>
                </c:pt>
                <c:pt idx="26">
                  <c:v>86.799723279630385</c:v>
                </c:pt>
                <c:pt idx="27">
                  <c:v>85.747408560255479</c:v>
                </c:pt>
                <c:pt idx="28">
                  <c:v>84.702384309773095</c:v>
                </c:pt>
                <c:pt idx="29">
                  <c:v>83.664787393528343</c:v>
                </c:pt>
                <c:pt idx="30">
                  <c:v>82.63473272234735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C$2:$C$32</c:f>
              <c:numCache>
                <c:formatCode>General</c:formatCode>
                <c:ptCount val="31"/>
                <c:pt idx="0">
                  <c:v>92.405935028212411</c:v>
                </c:pt>
                <c:pt idx="1">
                  <c:v>93.033057337847751</c:v>
                </c:pt>
                <c:pt idx="2">
                  <c:v>93.641431088587595</c:v>
                </c:pt>
                <c:pt idx="3">
                  <c:v>94.231376357343862</c:v>
                </c:pt>
                <c:pt idx="4">
                  <c:v>94.803211162629822</c:v>
                </c:pt>
                <c:pt idx="5">
                  <c:v>95.434015953750546</c:v>
                </c:pt>
                <c:pt idx="6">
                  <c:v>96.126261608461704</c:v>
                </c:pt>
                <c:pt idx="7">
                  <c:v>96.804380315868215</c:v>
                </c:pt>
                <c:pt idx="8">
                  <c:v>97.46887215154625</c:v>
                </c:pt>
                <c:pt idx="9">
                  <c:v>98.120222402477097</c:v>
                </c:pt>
                <c:pt idx="10">
                  <c:v>98.758898825408053</c:v>
                </c:pt>
                <c:pt idx="11">
                  <c:v>99.385349314486945</c:v>
                </c:pt>
                <c:pt idx="12">
                  <c:v>100</c:v>
                </c:pt>
                <c:pt idx="13">
                  <c:v>100.58934370367336</c:v>
                </c:pt>
                <c:pt idx="14">
                  <c:v>101.16388203672517</c:v>
                </c:pt>
                <c:pt idx="15">
                  <c:v>101.72388967297464</c:v>
                </c:pt>
                <c:pt idx="16">
                  <c:v>102.26964265193952</c:v>
                </c:pt>
                <c:pt idx="17">
                  <c:v>102.80141780987189</c:v>
                </c:pt>
                <c:pt idx="18">
                  <c:v>102.85426172096</c:v>
                </c:pt>
                <c:pt idx="19">
                  <c:v>102.88353510140485</c:v>
                </c:pt>
                <c:pt idx="20">
                  <c:v>102.88991841242027</c:v>
                </c:pt>
                <c:pt idx="21">
                  <c:v>102.87407411935246</c:v>
                </c:pt>
                <c:pt idx="22">
                  <c:v>102.83664339733103</c:v>
                </c:pt>
                <c:pt idx="23">
                  <c:v>102.77824344084645</c:v>
                </c:pt>
                <c:pt idx="24">
                  <c:v>102.69946547614256</c:v>
                </c:pt>
                <c:pt idx="25">
                  <c:v>102.60087354961698</c:v>
                </c:pt>
                <c:pt idx="26">
                  <c:v>102.48300413626212</c:v>
                </c:pt>
                <c:pt idx="27">
                  <c:v>102.34636658270979</c:v>
                </c:pt>
                <c:pt idx="28">
                  <c:v>102.19144437244474</c:v>
                </c:pt>
                <c:pt idx="29">
                  <c:v>102.01869717821313</c:v>
                </c:pt>
                <c:pt idx="30">
                  <c:v>101.8285636492797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D$2:$D$32</c:f>
              <c:numCache>
                <c:formatCode>General</c:formatCode>
                <c:ptCount val="31"/>
                <c:pt idx="0">
                  <c:v>84.351433901623167</c:v>
                </c:pt>
                <c:pt idx="1">
                  <c:v>85.712272176479459</c:v>
                </c:pt>
                <c:pt idx="2">
                  <c:v>87.042523078671891</c:v>
                </c:pt>
                <c:pt idx="3">
                  <c:v>88.342622054301728</c:v>
                </c:pt>
                <c:pt idx="4">
                  <c:v>89.61300360005572</c:v>
                </c:pt>
                <c:pt idx="5">
                  <c:v>90.927334383122314</c:v>
                </c:pt>
                <c:pt idx="6">
                  <c:v>92.289901005396317</c:v>
                </c:pt>
                <c:pt idx="7">
                  <c:v>93.629328630960913</c:v>
                </c:pt>
                <c:pt idx="8">
                  <c:v>94.946215896169377</c:v>
                </c:pt>
                <c:pt idx="9">
                  <c:v>96.241154053755594</c:v>
                </c:pt>
                <c:pt idx="10">
                  <c:v>97.514723241893492</c:v>
                </c:pt>
                <c:pt idx="11">
                  <c:v>98.767489131990246</c:v>
                </c:pt>
                <c:pt idx="12">
                  <c:v>100</c:v>
                </c:pt>
                <c:pt idx="13">
                  <c:v>101.19881800897399</c:v>
                </c:pt>
                <c:pt idx="14">
                  <c:v>102.37431373391925</c:v>
                </c:pt>
                <c:pt idx="15">
                  <c:v>103.52682354487732</c:v>
                </c:pt>
                <c:pt idx="16">
                  <c:v>104.65668827608026</c:v>
                </c:pt>
                <c:pt idx="17">
                  <c:v>105.76425252569372</c:v>
                </c:pt>
                <c:pt idx="18">
                  <c:v>106.35948485957955</c:v>
                </c:pt>
                <c:pt idx="19">
                  <c:v>106.9173594787824</c:v>
                </c:pt>
                <c:pt idx="20">
                  <c:v>107.43868311692036</c:v>
                </c:pt>
                <c:pt idx="21">
                  <c:v>107.92425330593119</c:v>
                </c:pt>
                <c:pt idx="22">
                  <c:v>108.37485380921035</c:v>
                </c:pt>
                <c:pt idx="23">
                  <c:v>108.7912506802484</c:v>
                </c:pt>
                <c:pt idx="24">
                  <c:v>109.17418907623329</c:v>
                </c:pt>
                <c:pt idx="25">
                  <c:v>109.52439092963834</c:v>
                </c:pt>
                <c:pt idx="26">
                  <c:v>109.84255354936283</c:v>
                </c:pt>
                <c:pt idx="27">
                  <c:v>110.12934918998232</c:v>
                </c:pt>
                <c:pt idx="28">
                  <c:v>110.38542559630378</c:v>
                </c:pt>
                <c:pt idx="29">
                  <c:v>110.61140750314047</c:v>
                </c:pt>
                <c:pt idx="30">
                  <c:v>110.8078990480943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E$2:$E$32</c:f>
              <c:numCache>
                <c:formatCode>General</c:formatCode>
                <c:ptCount val="31"/>
                <c:pt idx="0">
                  <c:v>0.63530841208055444</c:v>
                </c:pt>
                <c:pt idx="1">
                  <c:v>0.64102010492189276</c:v>
                </c:pt>
                <c:pt idx="2">
                  <c:v>0.6465556468660425</c:v>
                </c:pt>
                <c:pt idx="3">
                  <c:v>0.65192306301082525</c:v>
                </c:pt>
                <c:pt idx="4">
                  <c:v>0.65712989826870394</c:v>
                </c:pt>
                <c:pt idx="5">
                  <c:v>0.66218325275258427</c:v>
                </c:pt>
                <c:pt idx="6">
                  <c:v>0.6670898140778917</c:v>
                </c:pt>
                <c:pt idx="7">
                  <c:v>0.6718558868899478</c:v>
                </c:pt>
                <c:pt idx="8">
                  <c:v>0.67648741989079531</c:v>
                </c:pt>
                <c:pt idx="9">
                  <c:v>0.68099003060908636</c:v>
                </c:pt>
                <c:pt idx="10">
                  <c:v>0.68536902812989497</c:v>
                </c:pt>
                <c:pt idx="11">
                  <c:v>0.6896294339778315</c:v>
                </c:pt>
                <c:pt idx="12">
                  <c:v>0.69377600132615691</c:v>
                </c:pt>
                <c:pt idx="13">
                  <c:v>0.69781323268639228</c:v>
                </c:pt>
                <c:pt idx="14">
                  <c:v>0.70174539621682308</c:v>
                </c:pt>
                <c:pt idx="15">
                  <c:v>0.70557654077408927</c:v>
                </c:pt>
                <c:pt idx="16">
                  <c:v>0.7093105098194401</c:v>
                </c:pt>
                <c:pt idx="17">
                  <c:v>0.71295095428006072</c:v>
                </c:pt>
                <c:pt idx="18">
                  <c:v>0.71650134445594138</c:v>
                </c:pt>
                <c:pt idx="19">
                  <c:v>0.71996498105391393</c:v>
                </c:pt>
                <c:pt idx="20">
                  <c:v>0.72334500542260527</c:v>
                </c:pt>
                <c:pt idx="21">
                  <c:v>0.72664440905501315</c:v>
                </c:pt>
                <c:pt idx="22">
                  <c:v>0.72986604241912612</c:v>
                </c:pt>
                <c:pt idx="23">
                  <c:v>0.73301262317137861</c:v>
                </c:pt>
                <c:pt idx="24">
                  <c:v>0.73608674380268113</c:v>
                </c:pt>
                <c:pt idx="25">
                  <c:v>0.73909087876224078</c:v>
                </c:pt>
                <c:pt idx="26">
                  <c:v>0.74202739110031346</c:v>
                </c:pt>
                <c:pt idx="27">
                  <c:v>0.74489853866736611</c:v>
                </c:pt>
                <c:pt idx="28">
                  <c:v>0.74770647990382888</c:v>
                </c:pt>
                <c:pt idx="29">
                  <c:v>0.75045327925163696</c:v>
                </c:pt>
                <c:pt idx="30">
                  <c:v>0.7531409122160780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Sensitive Refills 6 Pack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12 Pack (0.4%)</c:v>
                </c:pt>
                <c:pt idx="2">
                  <c:v>Schick Hydro 3 Blade Ultra Sensitive Refills 5 Pack (0.0%)</c:v>
                </c:pt>
                <c:pt idx="3">
                  <c:v>None Razors (12.2%)</c:v>
                </c:pt>
                <c:pt idx="4">
                  <c:v>Schick Xtreme 3 Sensitive Disposable Razors 4 Pack (2.8%)</c:v>
                </c:pt>
                <c:pt idx="5">
                  <c:v>Schick Xtreme 3 Sensitive Disposable Razors 8 Pack (1.7%)</c:v>
                </c:pt>
                <c:pt idx="6">
                  <c:v>Schick Xtreme 2 Sensitive Disposable Razors 12 Pack (2.7%)</c:v>
                </c:pt>
                <c:pt idx="7">
                  <c:v>Equate Speed 3 Disposable Razors 4 Pack (2.3%)</c:v>
                </c:pt>
                <c:pt idx="8">
                  <c:v>Gillette Mach 3 1 Handle + 2 Cartridges (2.7%)</c:v>
                </c:pt>
                <c:pt idx="9">
                  <c:v>Bic Flex 4 Sensitive Skin Disposable Razors 3 Pack (1.7%)</c:v>
                </c:pt>
              </c:strCache>
            </c:strRef>
          </c:cat>
          <c:val>
            <c:numRef>
              <c:f>Sheet1!$B$2:$B$11</c:f>
              <c:numCache>
                <c:formatCode>General</c:formatCode>
                <c:ptCount val="10"/>
                <c:pt idx="0">
                  <c:v>0.70171176315658823</c:v>
                </c:pt>
                <c:pt idx="1">
                  <c:v>0.2173638156614742</c:v>
                </c:pt>
                <c:pt idx="2">
                  <c:v>8.063766320245068E-2</c:v>
                </c:pt>
                <c:pt idx="3">
                  <c:v>5.2882908373399584E-4</c:v>
                </c:pt>
                <c:pt idx="4">
                  <c:v>4.6710176244068273E-4</c:v>
                </c:pt>
                <c:pt idx="5">
                  <c:v>2.9641580387805929E-4</c:v>
                </c:pt>
                <c:pt idx="6">
                  <c:v>2.5528774015901105E-4</c:v>
                </c:pt>
                <c:pt idx="7">
                  <c:v>2.4637646988774137E-4</c:v>
                </c:pt>
                <c:pt idx="8">
                  <c:v>2.0333401910766871E-4</c:v>
                </c:pt>
                <c:pt idx="9">
                  <c:v>1.9798087482384192E-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Sensitive Refills 6 Pack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12 Pack (0.4%)</c:v>
                </c:pt>
                <c:pt idx="2">
                  <c:v>Schick Hydro 3 Blade Ultra Sensitive Refills 5 Pack (0.0%)</c:v>
                </c:pt>
                <c:pt idx="3">
                  <c:v>None Razors (12.2%)</c:v>
                </c:pt>
                <c:pt idx="4">
                  <c:v>Schick Xtreme 3 Sensitive Disposable Razors 4 Pack (2.8%)</c:v>
                </c:pt>
                <c:pt idx="5">
                  <c:v>Schick Xtreme 3 Sensitive Disposable Razors 8 Pack (1.7%)</c:v>
                </c:pt>
                <c:pt idx="6">
                  <c:v>Schick Xtreme 2 Sensitive Disposable Razors 12 Pack (2.7%)</c:v>
                </c:pt>
                <c:pt idx="7">
                  <c:v>Equate Speed 3 Disposable Razors 4 Pack (2.3%)</c:v>
                </c:pt>
                <c:pt idx="8">
                  <c:v>Gillette Mach 3 1 Handle + 2 Cartridges (2.7%)</c:v>
                </c:pt>
                <c:pt idx="9">
                  <c:v>Bic Flex 4 Sensitive Skin Disposable Razors 3 Pack (1.7%)</c:v>
                </c:pt>
              </c:strCache>
            </c:strRef>
          </c:cat>
          <c:val>
            <c:numRef>
              <c:f>Sheet1!$B$2:$B$11</c:f>
              <c:numCache>
                <c:formatCode>General</c:formatCode>
                <c:ptCount val="10"/>
                <c:pt idx="0">
                  <c:v>0.60710155334445393</c:v>
                </c:pt>
                <c:pt idx="1">
                  <c:v>0.26339769782653039</c:v>
                </c:pt>
                <c:pt idx="2">
                  <c:v>0.12927661528748929</c:v>
                </c:pt>
                <c:pt idx="3">
                  <c:v>4.1331726238649297E-4</c:v>
                </c:pt>
                <c:pt idx="4">
                  <c:v>3.6501921706230933E-4</c:v>
                </c:pt>
                <c:pt idx="5">
                  <c:v>2.3165213573865987E-4</c:v>
                </c:pt>
                <c:pt idx="6">
                  <c:v>1.9949851874299536E-4</c:v>
                </c:pt>
                <c:pt idx="7">
                  <c:v>1.925372650262477E-4</c:v>
                </c:pt>
                <c:pt idx="8">
                  <c:v>1.58931302274231E-4</c:v>
                </c:pt>
                <c:pt idx="9">
                  <c:v>1.5471711619998007E-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arrys (1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ollar Shave Club (2.9%)</c:v>
                </c:pt>
                <c:pt idx="1">
                  <c:v>Gillette (38.7%)</c:v>
                </c:pt>
                <c:pt idx="2">
                  <c:v>Bic (16.9%)</c:v>
                </c:pt>
                <c:pt idx="3">
                  <c:v>Equate (21.7%)</c:v>
                </c:pt>
                <c:pt idx="4">
                  <c:v>Schick (11.2%)</c:v>
                </c:pt>
                <c:pt idx="5">
                  <c:v>Van Der Hagen (2.0%)</c:v>
                </c:pt>
              </c:strCache>
            </c:strRef>
          </c:cat>
          <c:val>
            <c:numRef>
              <c:f>Sheet1!$B$2:$B$7</c:f>
              <c:numCache>
                <c:formatCode>General</c:formatCode>
                <c:ptCount val="6"/>
                <c:pt idx="0">
                  <c:v>0.13974085678813819</c:v>
                </c:pt>
                <c:pt idx="1">
                  <c:v>0.13875835142579468</c:v>
                </c:pt>
                <c:pt idx="2">
                  <c:v>6.1678595312359884E-2</c:v>
                </c:pt>
                <c:pt idx="3">
                  <c:v>5.7188355052916369E-2</c:v>
                </c:pt>
                <c:pt idx="4">
                  <c:v>3.1043237665839021E-2</c:v>
                </c:pt>
                <c:pt idx="5">
                  <c:v>2.229209412924366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58</c:f>
              <c:strCache>
                <c:ptCount val="57"/>
                <c:pt idx="0">
                  <c:v>22.97</c:v>
                </c:pt>
                <c:pt idx="1">
                  <c:v>23.17</c:v>
                </c:pt>
                <c:pt idx="2">
                  <c:v>23.37</c:v>
                </c:pt>
                <c:pt idx="3">
                  <c:v>23.57</c:v>
                </c:pt>
                <c:pt idx="4">
                  <c:v>23.77</c:v>
                </c:pt>
                <c:pt idx="5">
                  <c:v>23.97</c:v>
                </c:pt>
                <c:pt idx="6">
                  <c:v>24.17</c:v>
                </c:pt>
                <c:pt idx="7">
                  <c:v>24.37</c:v>
                </c:pt>
                <c:pt idx="8">
                  <c:v>24.57</c:v>
                </c:pt>
                <c:pt idx="9">
                  <c:v>24.77</c:v>
                </c:pt>
                <c:pt idx="10">
                  <c:v>24.97</c:v>
                </c:pt>
                <c:pt idx="11">
                  <c:v>25.17</c:v>
                </c:pt>
                <c:pt idx="12">
                  <c:v>25.37</c:v>
                </c:pt>
                <c:pt idx="13">
                  <c:v>25.57</c:v>
                </c:pt>
                <c:pt idx="14">
                  <c:v>25.77</c:v>
                </c:pt>
                <c:pt idx="15">
                  <c:v>25.97</c:v>
                </c:pt>
                <c:pt idx="16">
                  <c:v>26.17</c:v>
                </c:pt>
                <c:pt idx="17">
                  <c:v>26.37</c:v>
                </c:pt>
                <c:pt idx="18">
                  <c:v>26.57</c:v>
                </c:pt>
                <c:pt idx="19">
                  <c:v>26.77</c:v>
                </c:pt>
                <c:pt idx="20">
                  <c:v>26.97</c:v>
                </c:pt>
                <c:pt idx="21">
                  <c:v>27.17</c:v>
                </c:pt>
                <c:pt idx="22">
                  <c:v>27.37</c:v>
                </c:pt>
                <c:pt idx="23">
                  <c:v>27.57</c:v>
                </c:pt>
                <c:pt idx="24">
                  <c:v>27.77</c:v>
                </c:pt>
                <c:pt idx="25">
                  <c:v>27.97</c:v>
                </c:pt>
                <c:pt idx="26">
                  <c:v>28.17</c:v>
                </c:pt>
                <c:pt idx="27">
                  <c:v>28.37</c:v>
                </c:pt>
                <c:pt idx="28">
                  <c:v>28.57</c:v>
                </c:pt>
                <c:pt idx="29">
                  <c:v>28.77</c:v>
                </c:pt>
                <c:pt idx="30">
                  <c:v>28.97</c:v>
                </c:pt>
                <c:pt idx="31">
                  <c:v>29.17</c:v>
                </c:pt>
                <c:pt idx="32">
                  <c:v>29.37</c:v>
                </c:pt>
                <c:pt idx="33">
                  <c:v>29.57</c:v>
                </c:pt>
                <c:pt idx="34">
                  <c:v>29.77</c:v>
                </c:pt>
                <c:pt idx="35">
                  <c:v>29.97</c:v>
                </c:pt>
                <c:pt idx="36">
                  <c:v>30.17</c:v>
                </c:pt>
                <c:pt idx="37">
                  <c:v>30.37</c:v>
                </c:pt>
                <c:pt idx="38">
                  <c:v>30.57</c:v>
                </c:pt>
                <c:pt idx="39">
                  <c:v>30.77</c:v>
                </c:pt>
                <c:pt idx="40">
                  <c:v>30.97</c:v>
                </c:pt>
                <c:pt idx="41">
                  <c:v>31.17</c:v>
                </c:pt>
                <c:pt idx="42">
                  <c:v>31.37</c:v>
                </c:pt>
                <c:pt idx="43">
                  <c:v>31.57</c:v>
                </c:pt>
                <c:pt idx="44">
                  <c:v>31.77</c:v>
                </c:pt>
                <c:pt idx="45">
                  <c:v>31.97</c:v>
                </c:pt>
                <c:pt idx="46">
                  <c:v>32.17</c:v>
                </c:pt>
                <c:pt idx="47">
                  <c:v>32.37</c:v>
                </c:pt>
                <c:pt idx="48">
                  <c:v>32.57</c:v>
                </c:pt>
                <c:pt idx="49">
                  <c:v>32.77</c:v>
                </c:pt>
                <c:pt idx="50">
                  <c:v>32.97</c:v>
                </c:pt>
                <c:pt idx="51">
                  <c:v>33.17</c:v>
                </c:pt>
                <c:pt idx="52">
                  <c:v>33.37</c:v>
                </c:pt>
                <c:pt idx="53">
                  <c:v>33.57</c:v>
                </c:pt>
                <c:pt idx="54">
                  <c:v>33.77</c:v>
                </c:pt>
                <c:pt idx="55">
                  <c:v>33.97</c:v>
                </c:pt>
                <c:pt idx="56">
                  <c:v>34.17</c:v>
                </c:pt>
              </c:strCache>
            </c:strRef>
          </c:cat>
          <c:val>
            <c:numRef>
              <c:f>Sheet1!$B$2:$B$58</c:f>
              <c:numCache>
                <c:formatCode>General</c:formatCode>
                <c:ptCount val="57"/>
                <c:pt idx="0">
                  <c:v>119.10996765230308</c:v>
                </c:pt>
                <c:pt idx="1">
                  <c:v>118.16574641077224</c:v>
                </c:pt>
                <c:pt idx="2">
                  <c:v>117.24245519566708</c:v>
                </c:pt>
                <c:pt idx="3">
                  <c:v>116.33949910391281</c:v>
                </c:pt>
                <c:pt idx="4">
                  <c:v>115.45628867577111</c:v>
                </c:pt>
                <c:pt idx="5">
                  <c:v>114.59224118154383</c:v>
                </c:pt>
                <c:pt idx="6">
                  <c:v>113.51061745045673</c:v>
                </c:pt>
                <c:pt idx="7">
                  <c:v>112.44614694113102</c:v>
                </c:pt>
                <c:pt idx="8">
                  <c:v>111.39844902790243</c:v>
                </c:pt>
                <c:pt idx="9">
                  <c:v>110.36714463340932</c:v>
                </c:pt>
                <c:pt idx="10">
                  <c:v>109.35185703039005</c:v>
                </c:pt>
                <c:pt idx="11">
                  <c:v>108.35221257964218</c:v>
                </c:pt>
                <c:pt idx="12">
                  <c:v>107.36784140534164</c:v>
                </c:pt>
                <c:pt idx="13">
                  <c:v>106.39837800922007</c:v>
                </c:pt>
                <c:pt idx="14">
                  <c:v>105.44346182536654</c:v>
                </c:pt>
                <c:pt idx="15">
                  <c:v>104.50273771763239</c:v>
                </c:pt>
                <c:pt idx="16">
                  <c:v>103.57585642181833</c:v>
                </c:pt>
                <c:pt idx="17">
                  <c:v>102.66247493496114</c:v>
                </c:pt>
                <c:pt idx="18">
                  <c:v>101.76225685417852</c:v>
                </c:pt>
                <c:pt idx="19">
                  <c:v>100.87487266759906</c:v>
                </c:pt>
                <c:pt idx="20">
                  <c:v>100</c:v>
                </c:pt>
                <c:pt idx="21">
                  <c:v>99.514581001715626</c:v>
                </c:pt>
                <c:pt idx="22">
                  <c:v>99.032527880145679</c:v>
                </c:pt>
                <c:pt idx="23">
                  <c:v>98.553805004933295</c:v>
                </c:pt>
                <c:pt idx="24">
                  <c:v>98.07837711837621</c:v>
                </c:pt>
                <c:pt idx="25">
                  <c:v>97.606209335419209</c:v>
                </c:pt>
                <c:pt idx="26">
                  <c:v>97.137267143438962</c:v>
                </c:pt>
                <c:pt idx="27">
                  <c:v>96.671516401837295</c:v>
                </c:pt>
                <c:pt idx="28">
                  <c:v>96.208923341449463</c:v>
                </c:pt>
                <c:pt idx="29">
                  <c:v>95.749454563779807</c:v>
                </c:pt>
                <c:pt idx="30">
                  <c:v>95.293077040074436</c:v>
                </c:pt>
                <c:pt idx="31">
                  <c:v>94.839758110243068</c:v>
                </c:pt>
                <c:pt idx="32">
                  <c:v>94.389465481636961</c:v>
                </c:pt>
                <c:pt idx="33">
                  <c:v>93.942167227692252</c:v>
                </c:pt>
                <c:pt idx="34">
                  <c:v>93.497831786448614</c:v>
                </c:pt>
                <c:pt idx="35">
                  <c:v>93.056427958950039</c:v>
                </c:pt>
                <c:pt idx="36">
                  <c:v>92.617924907534928</c:v>
                </c:pt>
                <c:pt idx="37">
                  <c:v>92.182292154025447</c:v>
                </c:pt>
                <c:pt idx="38">
                  <c:v>91.749499577820941</c:v>
                </c:pt>
                <c:pt idx="39">
                  <c:v>91.319517413902062</c:v>
                </c:pt>
                <c:pt idx="40">
                  <c:v>90.892316250752231</c:v>
                </c:pt>
                <c:pt idx="41">
                  <c:v>90.467867028203642</c:v>
                </c:pt>
                <c:pt idx="42">
                  <c:v>90.04614103521169</c:v>
                </c:pt>
                <c:pt idx="43">
                  <c:v>89.627109907564488</c:v>
                </c:pt>
                <c:pt idx="44">
                  <c:v>89.210745625529668</c:v>
                </c:pt>
                <c:pt idx="45">
                  <c:v>88.797020511448707</c:v>
                </c:pt>
                <c:pt idx="46">
                  <c:v>88.385907227276476</c:v>
                </c:pt>
                <c:pt idx="47">
                  <c:v>87.977378772076648</c:v>
                </c:pt>
                <c:pt idx="48">
                  <c:v>87.571408479472097</c:v>
                </c:pt>
                <c:pt idx="49">
                  <c:v>87.167970015055545</c:v>
                </c:pt>
                <c:pt idx="50">
                  <c:v>86.767037373766343</c:v>
                </c:pt>
                <c:pt idx="51">
                  <c:v>86.368584877232152</c:v>
                </c:pt>
                <c:pt idx="52">
                  <c:v>85.972587171081855</c:v>
                </c:pt>
                <c:pt idx="53">
                  <c:v>85.579019222232063</c:v>
                </c:pt>
                <c:pt idx="54">
                  <c:v>85.187856316150061</c:v>
                </c:pt>
                <c:pt idx="55">
                  <c:v>84.799074054092998</c:v>
                </c:pt>
                <c:pt idx="56">
                  <c:v>84.412648350330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58</c:f>
              <c:strCache>
                <c:ptCount val="57"/>
                <c:pt idx="0">
                  <c:v>22.97</c:v>
                </c:pt>
                <c:pt idx="1">
                  <c:v>23.17</c:v>
                </c:pt>
                <c:pt idx="2">
                  <c:v>23.37</c:v>
                </c:pt>
                <c:pt idx="3">
                  <c:v>23.57</c:v>
                </c:pt>
                <c:pt idx="4">
                  <c:v>23.77</c:v>
                </c:pt>
                <c:pt idx="5">
                  <c:v>23.97</c:v>
                </c:pt>
                <c:pt idx="6">
                  <c:v>24.17</c:v>
                </c:pt>
                <c:pt idx="7">
                  <c:v>24.37</c:v>
                </c:pt>
                <c:pt idx="8">
                  <c:v>24.57</c:v>
                </c:pt>
                <c:pt idx="9">
                  <c:v>24.77</c:v>
                </c:pt>
                <c:pt idx="10">
                  <c:v>24.97</c:v>
                </c:pt>
                <c:pt idx="11">
                  <c:v>25.17</c:v>
                </c:pt>
                <c:pt idx="12">
                  <c:v>25.37</c:v>
                </c:pt>
                <c:pt idx="13">
                  <c:v>25.57</c:v>
                </c:pt>
                <c:pt idx="14">
                  <c:v>25.77</c:v>
                </c:pt>
                <c:pt idx="15">
                  <c:v>25.97</c:v>
                </c:pt>
                <c:pt idx="16">
                  <c:v>26.17</c:v>
                </c:pt>
                <c:pt idx="17">
                  <c:v>26.37</c:v>
                </c:pt>
                <c:pt idx="18">
                  <c:v>26.57</c:v>
                </c:pt>
                <c:pt idx="19">
                  <c:v>26.77</c:v>
                </c:pt>
                <c:pt idx="20">
                  <c:v>26.97</c:v>
                </c:pt>
                <c:pt idx="21">
                  <c:v>27.17</c:v>
                </c:pt>
                <c:pt idx="22">
                  <c:v>27.37</c:v>
                </c:pt>
                <c:pt idx="23">
                  <c:v>27.57</c:v>
                </c:pt>
                <c:pt idx="24">
                  <c:v>27.77</c:v>
                </c:pt>
                <c:pt idx="25">
                  <c:v>27.97</c:v>
                </c:pt>
                <c:pt idx="26">
                  <c:v>28.17</c:v>
                </c:pt>
                <c:pt idx="27">
                  <c:v>28.37</c:v>
                </c:pt>
                <c:pt idx="28">
                  <c:v>28.57</c:v>
                </c:pt>
                <c:pt idx="29">
                  <c:v>28.77</c:v>
                </c:pt>
                <c:pt idx="30">
                  <c:v>28.97</c:v>
                </c:pt>
                <c:pt idx="31">
                  <c:v>29.17</c:v>
                </c:pt>
                <c:pt idx="32">
                  <c:v>29.37</c:v>
                </c:pt>
                <c:pt idx="33">
                  <c:v>29.57</c:v>
                </c:pt>
                <c:pt idx="34">
                  <c:v>29.77</c:v>
                </c:pt>
                <c:pt idx="35">
                  <c:v>29.97</c:v>
                </c:pt>
                <c:pt idx="36">
                  <c:v>30.17</c:v>
                </c:pt>
                <c:pt idx="37">
                  <c:v>30.37</c:v>
                </c:pt>
                <c:pt idx="38">
                  <c:v>30.57</c:v>
                </c:pt>
                <c:pt idx="39">
                  <c:v>30.77</c:v>
                </c:pt>
                <c:pt idx="40">
                  <c:v>30.97</c:v>
                </c:pt>
                <c:pt idx="41">
                  <c:v>31.17</c:v>
                </c:pt>
                <c:pt idx="42">
                  <c:v>31.37</c:v>
                </c:pt>
                <c:pt idx="43">
                  <c:v>31.57</c:v>
                </c:pt>
                <c:pt idx="44">
                  <c:v>31.77</c:v>
                </c:pt>
                <c:pt idx="45">
                  <c:v>31.97</c:v>
                </c:pt>
                <c:pt idx="46">
                  <c:v>32.17</c:v>
                </c:pt>
                <c:pt idx="47">
                  <c:v>32.37</c:v>
                </c:pt>
                <c:pt idx="48">
                  <c:v>32.57</c:v>
                </c:pt>
                <c:pt idx="49">
                  <c:v>32.77</c:v>
                </c:pt>
                <c:pt idx="50">
                  <c:v>32.97</c:v>
                </c:pt>
                <c:pt idx="51">
                  <c:v>33.17</c:v>
                </c:pt>
                <c:pt idx="52">
                  <c:v>33.37</c:v>
                </c:pt>
                <c:pt idx="53">
                  <c:v>33.57</c:v>
                </c:pt>
                <c:pt idx="54">
                  <c:v>33.77</c:v>
                </c:pt>
                <c:pt idx="55">
                  <c:v>33.97</c:v>
                </c:pt>
                <c:pt idx="56">
                  <c:v>34.17</c:v>
                </c:pt>
              </c:strCache>
            </c:strRef>
          </c:cat>
          <c:val>
            <c:numRef>
              <c:f>Sheet1!$C$2:$C$58</c:f>
              <c:numCache>
                <c:formatCode>General</c:formatCode>
                <c:ptCount val="57"/>
                <c:pt idx="0">
                  <c:v>101.58245364704375</c:v>
                </c:pt>
                <c:pt idx="1">
                  <c:v>101.64561966732668</c:v>
                </c:pt>
                <c:pt idx="2">
                  <c:v>101.71301362272882</c:v>
                </c:pt>
                <c:pt idx="3">
                  <c:v>101.78457627593683</c:v>
                </c:pt>
                <c:pt idx="4">
                  <c:v>101.86023583118904</c:v>
                </c:pt>
                <c:pt idx="5">
                  <c:v>101.93990927181622</c:v>
                </c:pt>
                <c:pt idx="6">
                  <c:v>101.81298196723128</c:v>
                </c:pt>
                <c:pt idx="7">
                  <c:v>101.68568368494783</c:v>
                </c:pt>
                <c:pt idx="8">
                  <c:v>101.55804501536258</c:v>
                </c:pt>
                <c:pt idx="9">
                  <c:v>101.43008686302339</c:v>
                </c:pt>
                <c:pt idx="10">
                  <c:v>101.30182124229469</c:v>
                </c:pt>
                <c:pt idx="11">
                  <c:v>101.17325204853853</c:v>
                </c:pt>
                <c:pt idx="12">
                  <c:v>101.04437580271428</c:v>
                </c:pt>
                <c:pt idx="13">
                  <c:v>100.91518236764843</c:v>
                </c:pt>
                <c:pt idx="14">
                  <c:v>100.78565563456667</c:v>
                </c:pt>
                <c:pt idx="15">
                  <c:v>100.65577417878275</c:v>
                </c:pt>
                <c:pt idx="16">
                  <c:v>100.52551188374392</c:v>
                </c:pt>
                <c:pt idx="17">
                  <c:v>100.39483853289302</c:v>
                </c:pt>
                <c:pt idx="18">
                  <c:v>100.26372036907777</c:v>
                </c:pt>
                <c:pt idx="19">
                  <c:v>100.13212062144494</c:v>
                </c:pt>
                <c:pt idx="20">
                  <c:v>100</c:v>
                </c:pt>
                <c:pt idx="21">
                  <c:v>100.24437246979834</c:v>
                </c:pt>
                <c:pt idx="22">
                  <c:v>100.48501186090502</c:v>
                </c:pt>
                <c:pt idx="23">
                  <c:v>100.72195724461702</c:v>
                </c:pt>
                <c:pt idx="24">
                  <c:v>100.95524699252125</c:v>
                </c:pt>
                <c:pt idx="25">
                  <c:v>101.184918791184</c:v>
                </c:pt>
                <c:pt idx="26">
                  <c:v>101.41100965659106</c:v>
                </c:pt>
                <c:pt idx="27">
                  <c:v>101.63355594834664</c:v>
                </c:pt>
                <c:pt idx="28">
                  <c:v>101.85259338362884</c:v>
                </c:pt>
                <c:pt idx="29">
                  <c:v>102.06815705090636</c:v>
                </c:pt>
                <c:pt idx="30">
                  <c:v>102.28028142341819</c:v>
                </c:pt>
                <c:pt idx="31">
                  <c:v>102.48900037242331</c:v>
                </c:pt>
                <c:pt idx="32">
                  <c:v>102.69434718021913</c:v>
                </c:pt>
                <c:pt idx="33">
                  <c:v>102.89635455293407</c:v>
                </c:pt>
                <c:pt idx="34">
                  <c:v>103.09505463309752</c:v>
                </c:pt>
                <c:pt idx="35">
                  <c:v>103.2904790119906</c:v>
                </c:pt>
                <c:pt idx="36">
                  <c:v>103.48265874177902</c:v>
                </c:pt>
                <c:pt idx="37">
                  <c:v>103.67162434743516</c:v>
                </c:pt>
                <c:pt idx="38">
                  <c:v>103.85740583845045</c:v>
                </c:pt>
                <c:pt idx="39">
                  <c:v>104.04003272034001</c:v>
                </c:pt>
                <c:pt idx="40">
                  <c:v>104.21953400594526</c:v>
                </c:pt>
                <c:pt idx="41">
                  <c:v>104.3959382265375</c:v>
                </c:pt>
                <c:pt idx="42">
                  <c:v>104.56927344272466</c:v>
                </c:pt>
                <c:pt idx="43">
                  <c:v>104.7395672551652</c:v>
                </c:pt>
                <c:pt idx="44">
                  <c:v>104.90684681508992</c:v>
                </c:pt>
                <c:pt idx="45">
                  <c:v>105.07113883464068</c:v>
                </c:pt>
                <c:pt idx="46">
                  <c:v>105.23246959702006</c:v>
                </c:pt>
                <c:pt idx="47">
                  <c:v>105.39086496646503</c:v>
                </c:pt>
                <c:pt idx="48">
                  <c:v>105.54635039803897</c:v>
                </c:pt>
                <c:pt idx="49">
                  <c:v>105.69895094724859</c:v>
                </c:pt>
                <c:pt idx="50">
                  <c:v>105.84869127949064</c:v>
                </c:pt>
                <c:pt idx="51">
                  <c:v>105.99559567932482</c:v>
                </c:pt>
                <c:pt idx="52">
                  <c:v>106.13968805958203</c:v>
                </c:pt>
                <c:pt idx="53">
                  <c:v>106.28099197030596</c:v>
                </c:pt>
                <c:pt idx="54">
                  <c:v>106.41953060753421</c:v>
                </c:pt>
                <c:pt idx="55">
                  <c:v>106.5553268219162</c:v>
                </c:pt>
                <c:pt idx="56">
                  <c:v>106.6884031271754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58</c:f>
              <c:strCache>
                <c:ptCount val="57"/>
                <c:pt idx="0">
                  <c:v>22.97</c:v>
                </c:pt>
                <c:pt idx="1">
                  <c:v>23.17</c:v>
                </c:pt>
                <c:pt idx="2">
                  <c:v>23.37</c:v>
                </c:pt>
                <c:pt idx="3">
                  <c:v>23.57</c:v>
                </c:pt>
                <c:pt idx="4">
                  <c:v>23.77</c:v>
                </c:pt>
                <c:pt idx="5">
                  <c:v>23.97</c:v>
                </c:pt>
                <c:pt idx="6">
                  <c:v>24.17</c:v>
                </c:pt>
                <c:pt idx="7">
                  <c:v>24.37</c:v>
                </c:pt>
                <c:pt idx="8">
                  <c:v>24.57</c:v>
                </c:pt>
                <c:pt idx="9">
                  <c:v>24.77</c:v>
                </c:pt>
                <c:pt idx="10">
                  <c:v>24.97</c:v>
                </c:pt>
                <c:pt idx="11">
                  <c:v>25.17</c:v>
                </c:pt>
                <c:pt idx="12">
                  <c:v>25.37</c:v>
                </c:pt>
                <c:pt idx="13">
                  <c:v>25.57</c:v>
                </c:pt>
                <c:pt idx="14">
                  <c:v>25.77</c:v>
                </c:pt>
                <c:pt idx="15">
                  <c:v>25.97</c:v>
                </c:pt>
                <c:pt idx="16">
                  <c:v>26.17</c:v>
                </c:pt>
                <c:pt idx="17">
                  <c:v>26.37</c:v>
                </c:pt>
                <c:pt idx="18">
                  <c:v>26.57</c:v>
                </c:pt>
                <c:pt idx="19">
                  <c:v>26.77</c:v>
                </c:pt>
                <c:pt idx="20">
                  <c:v>26.97</c:v>
                </c:pt>
                <c:pt idx="21">
                  <c:v>27.17</c:v>
                </c:pt>
                <c:pt idx="22">
                  <c:v>27.37</c:v>
                </c:pt>
                <c:pt idx="23">
                  <c:v>27.57</c:v>
                </c:pt>
                <c:pt idx="24">
                  <c:v>27.77</c:v>
                </c:pt>
                <c:pt idx="25">
                  <c:v>27.97</c:v>
                </c:pt>
                <c:pt idx="26">
                  <c:v>28.17</c:v>
                </c:pt>
                <c:pt idx="27">
                  <c:v>28.37</c:v>
                </c:pt>
                <c:pt idx="28">
                  <c:v>28.57</c:v>
                </c:pt>
                <c:pt idx="29">
                  <c:v>28.77</c:v>
                </c:pt>
                <c:pt idx="30">
                  <c:v>28.97</c:v>
                </c:pt>
                <c:pt idx="31">
                  <c:v>29.17</c:v>
                </c:pt>
                <c:pt idx="32">
                  <c:v>29.37</c:v>
                </c:pt>
                <c:pt idx="33">
                  <c:v>29.57</c:v>
                </c:pt>
                <c:pt idx="34">
                  <c:v>29.77</c:v>
                </c:pt>
                <c:pt idx="35">
                  <c:v>29.97</c:v>
                </c:pt>
                <c:pt idx="36">
                  <c:v>30.17</c:v>
                </c:pt>
                <c:pt idx="37">
                  <c:v>30.37</c:v>
                </c:pt>
                <c:pt idx="38">
                  <c:v>30.57</c:v>
                </c:pt>
                <c:pt idx="39">
                  <c:v>30.77</c:v>
                </c:pt>
                <c:pt idx="40">
                  <c:v>30.97</c:v>
                </c:pt>
                <c:pt idx="41">
                  <c:v>31.17</c:v>
                </c:pt>
                <c:pt idx="42">
                  <c:v>31.37</c:v>
                </c:pt>
                <c:pt idx="43">
                  <c:v>31.57</c:v>
                </c:pt>
                <c:pt idx="44">
                  <c:v>31.77</c:v>
                </c:pt>
                <c:pt idx="45">
                  <c:v>31.97</c:v>
                </c:pt>
                <c:pt idx="46">
                  <c:v>32.17</c:v>
                </c:pt>
                <c:pt idx="47">
                  <c:v>32.37</c:v>
                </c:pt>
                <c:pt idx="48">
                  <c:v>32.57</c:v>
                </c:pt>
                <c:pt idx="49">
                  <c:v>32.77</c:v>
                </c:pt>
                <c:pt idx="50">
                  <c:v>32.97</c:v>
                </c:pt>
                <c:pt idx="51">
                  <c:v>33.17</c:v>
                </c:pt>
                <c:pt idx="52">
                  <c:v>33.37</c:v>
                </c:pt>
                <c:pt idx="53">
                  <c:v>33.57</c:v>
                </c:pt>
                <c:pt idx="54">
                  <c:v>33.77</c:v>
                </c:pt>
                <c:pt idx="55">
                  <c:v>33.97</c:v>
                </c:pt>
                <c:pt idx="56">
                  <c:v>34.17</c:v>
                </c:pt>
              </c:strCache>
            </c:strRef>
          </c:cat>
          <c:val>
            <c:numRef>
              <c:f>Sheet1!$D$2:$D$58</c:f>
              <c:numCache>
                <c:formatCode>General</c:formatCode>
                <c:ptCount val="57"/>
                <c:pt idx="0">
                  <c:v>93.646035377243521</c:v>
                </c:pt>
                <c:pt idx="1">
                  <c:v>94.166223295936774</c:v>
                </c:pt>
                <c:pt idx="2">
                  <c:v>94.683162373198996</c:v>
                </c:pt>
                <c:pt idx="3">
                  <c:v>95.197034249611164</c:v>
                </c:pt>
                <c:pt idx="4">
                  <c:v>95.70799990589056</c:v>
                </c:pt>
                <c:pt idx="5">
                  <c:v>96.216201015614573</c:v>
                </c:pt>
                <c:pt idx="6">
                  <c:v>96.521245940208118</c:v>
                </c:pt>
                <c:pt idx="7">
                  <c:v>96.817983526608288</c:v>
                </c:pt>
                <c:pt idx="8">
                  <c:v>97.106629552800129</c:v>
                </c:pt>
                <c:pt idx="9">
                  <c:v>97.387385077180667</c:v>
                </c:pt>
                <c:pt idx="10">
                  <c:v>97.660437224053425</c:v>
                </c:pt>
                <c:pt idx="11">
                  <c:v>97.925959963365514</c:v>
                </c:pt>
                <c:pt idx="12">
                  <c:v>98.184114881032912</c:v>
                </c:pt>
                <c:pt idx="13">
                  <c:v>98.435051936577082</c:v>
                </c:pt>
                <c:pt idx="14">
                  <c:v>98.678910205164016</c:v>
                </c:pt>
                <c:pt idx="15">
                  <c:v>98.915818601484929</c:v>
                </c:pt>
                <c:pt idx="16">
                  <c:v>99.145896583272403</c:v>
                </c:pt>
                <c:pt idx="17">
                  <c:v>99.369254832560884</c:v>
                </c:pt>
                <c:pt idx="18">
                  <c:v>99.58599591313272</c:v>
                </c:pt>
                <c:pt idx="19">
                  <c:v>99.796214902864577</c:v>
                </c:pt>
                <c:pt idx="20">
                  <c:v>100</c:v>
                </c:pt>
                <c:pt idx="21">
                  <c:v>100.57722897918569</c:v>
                </c:pt>
                <c:pt idx="22">
                  <c:v>101.14755947751037</c:v>
                </c:pt>
                <c:pt idx="23">
                  <c:v>101.7110618953562</c:v>
                </c:pt>
                <c:pt idx="24">
                  <c:v>102.2678055124761</c:v>
                </c:pt>
                <c:pt idx="25">
                  <c:v>102.81785850761216</c:v>
                </c:pt>
                <c:pt idx="26">
                  <c:v>103.36128797789567</c:v>
                </c:pt>
                <c:pt idx="27">
                  <c:v>103.89815995803356</c:v>
                </c:pt>
                <c:pt idx="28">
                  <c:v>104.42853943927126</c:v>
                </c:pt>
                <c:pt idx="29">
                  <c:v>104.95249038813506</c:v>
                </c:pt>
                <c:pt idx="30">
                  <c:v>105.47007576494694</c:v>
                </c:pt>
                <c:pt idx="31">
                  <c:v>105.98135754211953</c:v>
                </c:pt>
                <c:pt idx="32">
                  <c:v>106.4863967222216</c:v>
                </c:pt>
                <c:pt idx="33">
                  <c:v>106.98525335581766</c:v>
                </c:pt>
                <c:pt idx="34">
                  <c:v>107.47798655908079</c:v>
                </c:pt>
                <c:pt idx="35">
                  <c:v>107.96465453118054</c:v>
                </c:pt>
                <c:pt idx="36">
                  <c:v>108.44531457144035</c:v>
                </c:pt>
                <c:pt idx="37">
                  <c:v>108.92002309627338</c:v>
                </c:pt>
                <c:pt idx="38">
                  <c:v>109.38883565589008</c:v>
                </c:pt>
                <c:pt idx="39">
                  <c:v>109.85180695078252</c:v>
                </c:pt>
                <c:pt idx="40">
                  <c:v>110.30899084798303</c:v>
                </c:pt>
                <c:pt idx="41">
                  <c:v>110.76044039710283</c:v>
                </c:pt>
                <c:pt idx="42">
                  <c:v>111.20620784614721</c:v>
                </c:pt>
                <c:pt idx="43">
                  <c:v>111.64634465711268</c:v>
                </c:pt>
                <c:pt idx="44">
                  <c:v>112.08090152136111</c:v>
                </c:pt>
                <c:pt idx="45">
                  <c:v>112.50992837478249</c:v>
                </c:pt>
                <c:pt idx="46">
                  <c:v>112.93347441273515</c:v>
                </c:pt>
                <c:pt idx="47">
                  <c:v>113.35158810477755</c:v>
                </c:pt>
                <c:pt idx="48">
                  <c:v>113.76431720918319</c:v>
                </c:pt>
                <c:pt idx="49">
                  <c:v>114.17170878724541</c:v>
                </c:pt>
                <c:pt idx="50">
                  <c:v>114.57380921737412</c:v>
                </c:pt>
                <c:pt idx="51">
                  <c:v>114.97066420898146</c:v>
                </c:pt>
                <c:pt idx="52">
                  <c:v>115.36231881616317</c:v>
                </c:pt>
                <c:pt idx="53">
                  <c:v>115.74881745117413</c:v>
                </c:pt>
                <c:pt idx="54">
                  <c:v>116.13020389770286</c:v>
                </c:pt>
                <c:pt idx="55">
                  <c:v>116.50652132394015</c:v>
                </c:pt>
                <c:pt idx="56">
                  <c:v>116.8778122954518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58</c:f>
              <c:strCache>
                <c:ptCount val="57"/>
                <c:pt idx="0">
                  <c:v>22.97</c:v>
                </c:pt>
                <c:pt idx="1">
                  <c:v>23.17</c:v>
                </c:pt>
                <c:pt idx="2">
                  <c:v>23.37</c:v>
                </c:pt>
                <c:pt idx="3">
                  <c:v>23.57</c:v>
                </c:pt>
                <c:pt idx="4">
                  <c:v>23.77</c:v>
                </c:pt>
                <c:pt idx="5">
                  <c:v>23.97</c:v>
                </c:pt>
                <c:pt idx="6">
                  <c:v>24.17</c:v>
                </c:pt>
                <c:pt idx="7">
                  <c:v>24.37</c:v>
                </c:pt>
                <c:pt idx="8">
                  <c:v>24.57</c:v>
                </c:pt>
                <c:pt idx="9">
                  <c:v>24.77</c:v>
                </c:pt>
                <c:pt idx="10">
                  <c:v>24.97</c:v>
                </c:pt>
                <c:pt idx="11">
                  <c:v>25.17</c:v>
                </c:pt>
                <c:pt idx="12">
                  <c:v>25.37</c:v>
                </c:pt>
                <c:pt idx="13">
                  <c:v>25.57</c:v>
                </c:pt>
                <c:pt idx="14">
                  <c:v>25.77</c:v>
                </c:pt>
                <c:pt idx="15">
                  <c:v>25.97</c:v>
                </c:pt>
                <c:pt idx="16">
                  <c:v>26.17</c:v>
                </c:pt>
                <c:pt idx="17">
                  <c:v>26.37</c:v>
                </c:pt>
                <c:pt idx="18">
                  <c:v>26.57</c:v>
                </c:pt>
                <c:pt idx="19">
                  <c:v>26.77</c:v>
                </c:pt>
                <c:pt idx="20">
                  <c:v>26.97</c:v>
                </c:pt>
                <c:pt idx="21">
                  <c:v>27.17</c:v>
                </c:pt>
                <c:pt idx="22">
                  <c:v>27.37</c:v>
                </c:pt>
                <c:pt idx="23">
                  <c:v>27.57</c:v>
                </c:pt>
                <c:pt idx="24">
                  <c:v>27.77</c:v>
                </c:pt>
                <c:pt idx="25">
                  <c:v>27.97</c:v>
                </c:pt>
                <c:pt idx="26">
                  <c:v>28.17</c:v>
                </c:pt>
                <c:pt idx="27">
                  <c:v>28.37</c:v>
                </c:pt>
                <c:pt idx="28">
                  <c:v>28.57</c:v>
                </c:pt>
                <c:pt idx="29">
                  <c:v>28.77</c:v>
                </c:pt>
                <c:pt idx="30">
                  <c:v>28.97</c:v>
                </c:pt>
                <c:pt idx="31">
                  <c:v>29.17</c:v>
                </c:pt>
                <c:pt idx="32">
                  <c:v>29.37</c:v>
                </c:pt>
                <c:pt idx="33">
                  <c:v>29.57</c:v>
                </c:pt>
                <c:pt idx="34">
                  <c:v>29.77</c:v>
                </c:pt>
                <c:pt idx="35">
                  <c:v>29.97</c:v>
                </c:pt>
                <c:pt idx="36">
                  <c:v>30.17</c:v>
                </c:pt>
                <c:pt idx="37">
                  <c:v>30.37</c:v>
                </c:pt>
                <c:pt idx="38">
                  <c:v>30.57</c:v>
                </c:pt>
                <c:pt idx="39">
                  <c:v>30.77</c:v>
                </c:pt>
                <c:pt idx="40">
                  <c:v>30.97</c:v>
                </c:pt>
                <c:pt idx="41">
                  <c:v>31.17</c:v>
                </c:pt>
                <c:pt idx="42">
                  <c:v>31.37</c:v>
                </c:pt>
                <c:pt idx="43">
                  <c:v>31.57</c:v>
                </c:pt>
                <c:pt idx="44">
                  <c:v>31.77</c:v>
                </c:pt>
                <c:pt idx="45">
                  <c:v>31.97</c:v>
                </c:pt>
                <c:pt idx="46">
                  <c:v>32.17</c:v>
                </c:pt>
                <c:pt idx="47">
                  <c:v>32.37</c:v>
                </c:pt>
                <c:pt idx="48">
                  <c:v>32.57</c:v>
                </c:pt>
                <c:pt idx="49">
                  <c:v>32.77</c:v>
                </c:pt>
                <c:pt idx="50">
                  <c:v>32.97</c:v>
                </c:pt>
                <c:pt idx="51">
                  <c:v>33.17</c:v>
                </c:pt>
                <c:pt idx="52">
                  <c:v>33.37</c:v>
                </c:pt>
                <c:pt idx="53">
                  <c:v>33.57</c:v>
                </c:pt>
                <c:pt idx="54">
                  <c:v>33.77</c:v>
                </c:pt>
                <c:pt idx="55">
                  <c:v>33.97</c:v>
                </c:pt>
                <c:pt idx="56">
                  <c:v>34.17</c:v>
                </c:pt>
              </c:strCache>
            </c:strRef>
          </c:cat>
          <c:val>
            <c:numRef>
              <c:f>Sheet1!$E$2:$E$58</c:f>
              <c:numCache>
                <c:formatCode>General</c:formatCode>
                <c:ptCount val="57"/>
                <c:pt idx="0">
                  <c:v>0.64268657737063317</c:v>
                </c:pt>
                <c:pt idx="1">
                  <c:v>0.64577085378521548</c:v>
                </c:pt>
                <c:pt idx="2">
                  <c:v>0.64880233984610369</c:v>
                </c:pt>
                <c:pt idx="3">
                  <c:v>0.65178237938920003</c:v>
                </c:pt>
                <c:pt idx="4">
                  <c:v>0.65471227102244201</c:v>
                </c:pt>
                <c:pt idx="5">
                  <c:v>0.65759327001265944</c:v>
                </c:pt>
                <c:pt idx="6">
                  <c:v>0.66042659007875226</c:v>
                </c:pt>
                <c:pt idx="7">
                  <c:v>0.66321340509657134</c:v>
                </c:pt>
                <c:pt idx="8">
                  <c:v>0.66595485072053096</c:v>
                </c:pt>
                <c:pt idx="9">
                  <c:v>0.66865202592666306</c:v>
                </c:pt>
                <c:pt idx="10">
                  <c:v>0.67130599448151573</c:v>
                </c:pt>
                <c:pt idx="11">
                  <c:v>0.67391778634101895</c:v>
                </c:pt>
                <c:pt idx="12">
                  <c:v>0.67648839898318669</c:v>
                </c:pt>
                <c:pt idx="13">
                  <c:v>0.67901879867827319</c:v>
                </c:pt>
                <c:pt idx="14">
                  <c:v>0.68150992169978442</c:v>
                </c:pt>
                <c:pt idx="15">
                  <c:v>0.68396267547953193</c:v>
                </c:pt>
                <c:pt idx="16">
                  <c:v>0.68637793970972272</c:v>
                </c:pt>
                <c:pt idx="17">
                  <c:v>0.68875656739489732</c:v>
                </c:pt>
                <c:pt idx="18">
                  <c:v>0.69109938585635844</c:v>
                </c:pt>
                <c:pt idx="19">
                  <c:v>0.69340719769157433</c:v>
                </c:pt>
                <c:pt idx="20">
                  <c:v>0.69568078169089531</c:v>
                </c:pt>
                <c:pt idx="21">
                  <c:v>0.69792089371378152</c:v>
                </c:pt>
                <c:pt idx="22">
                  <c:v>0.70012826752661472</c:v>
                </c:pt>
                <c:pt idx="23">
                  <c:v>0.7023036156040422</c:v>
                </c:pt>
                <c:pt idx="24">
                  <c:v>0.70444762989569487</c:v>
                </c:pt>
                <c:pt idx="25">
                  <c:v>0.70656098256000877</c:v>
                </c:pt>
                <c:pt idx="26">
                  <c:v>0.70864432666678889</c:v>
                </c:pt>
                <c:pt idx="27">
                  <c:v>0.71069829687005437</c:v>
                </c:pt>
                <c:pt idx="28">
                  <c:v>0.71272351005262313</c:v>
                </c:pt>
                <c:pt idx="29">
                  <c:v>0.71472056594381117</c:v>
                </c:pt>
                <c:pt idx="30">
                  <c:v>0.71669004771154443</c:v>
                </c:pt>
                <c:pt idx="31">
                  <c:v>0.71863252253011467</c:v>
                </c:pt>
                <c:pt idx="32">
                  <c:v>0.72054854212473418</c:v>
                </c:pt>
                <c:pt idx="33">
                  <c:v>0.72243864329399543</c:v>
                </c:pt>
                <c:pt idx="34">
                  <c:v>0.72430334841126787</c:v>
                </c:pt>
                <c:pt idx="35">
                  <c:v>0.7261431659060209</c:v>
                </c:pt>
                <c:pt idx="36">
                  <c:v>0.72795859072600078</c:v>
                </c:pt>
                <c:pt idx="37">
                  <c:v>0.72975010478114732</c:v>
                </c:pt>
                <c:pt idx="38">
                  <c:v>0.73151817737008318</c:v>
                </c:pt>
                <c:pt idx="39">
                  <c:v>0.73326326558997212</c:v>
                </c:pt>
                <c:pt idx="40">
                  <c:v>0.7349858147304954</c:v>
                </c:pt>
                <c:pt idx="41">
                  <c:v>0.73668625865266102</c:v>
                </c:pt>
                <c:pt idx="42">
                  <c:v>0.73836502015312222</c:v>
                </c:pt>
                <c:pt idx="43">
                  <c:v>0.74002251131464825</c:v>
                </c:pt>
                <c:pt idx="44">
                  <c:v>0.7416591338433568</c:v>
                </c:pt>
                <c:pt idx="45">
                  <c:v>0.74327527939328875</c:v>
                </c:pt>
                <c:pt idx="46">
                  <c:v>0.74487132987887605</c:v>
                </c:pt>
                <c:pt idx="47">
                  <c:v>0.74644765777582467</c:v>
                </c:pt>
                <c:pt idx="48">
                  <c:v>0.74800462641091336</c:v>
                </c:pt>
                <c:pt idx="49">
                  <c:v>0.7495425902411792</c:v>
                </c:pt>
                <c:pt idx="50">
                  <c:v>0.75106189512294341</c:v>
                </c:pt>
                <c:pt idx="51">
                  <c:v>0.75256287857110171</c:v>
                </c:pt>
                <c:pt idx="52">
                  <c:v>0.75404587000909329</c:v>
                </c:pt>
                <c:pt idx="53">
                  <c:v>0.75551119100993269</c:v>
                </c:pt>
                <c:pt idx="54">
                  <c:v>0.75695915552867754</c:v>
                </c:pt>
                <c:pt idx="55">
                  <c:v>0.75839007012668369</c:v>
                </c:pt>
                <c:pt idx="56">
                  <c:v>0.7598042341879848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Sensitive Refills 12 Pa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Refills 6 Pack (0.6%)</c:v>
                </c:pt>
                <c:pt idx="1">
                  <c:v>None Blades (83.2%)</c:v>
                </c:pt>
                <c:pt idx="2">
                  <c:v>Schick Hydro 3 Blade Ultra Sensitive Refills 5 Pack (0.0%)</c:v>
                </c:pt>
                <c:pt idx="3">
                  <c:v>None Razors (12.2%)</c:v>
                </c:pt>
                <c:pt idx="4">
                  <c:v>Schick Xtreme 3 Sensitive Disposable Razors 4 Pack (2.8%)</c:v>
                </c:pt>
                <c:pt idx="5">
                  <c:v>Schick Xtreme 3 Sensitive Disposable Razors 8 Pack (1.7%)</c:v>
                </c:pt>
                <c:pt idx="6">
                  <c:v>Schick Xtreme 2 Sensitive Disposable Razors 12 Pack (2.7%)</c:v>
                </c:pt>
                <c:pt idx="7">
                  <c:v>Equate Speed 3 Disposable Razors 4 Pack (2.3%)</c:v>
                </c:pt>
                <c:pt idx="8">
                  <c:v>Gillette Mach 3 1 Handle + 2 Cartridges (2.7%)</c:v>
                </c:pt>
                <c:pt idx="9">
                  <c:v>Bic Flex 4 Sensitive Skin Disposable Razors 3 Pack (1.7%)</c:v>
                </c:pt>
              </c:strCache>
            </c:strRef>
          </c:cat>
          <c:val>
            <c:numRef>
              <c:f>Sheet1!$B$2:$B$11</c:f>
              <c:numCache>
                <c:formatCode>General</c:formatCode>
                <c:ptCount val="10"/>
                <c:pt idx="0">
                  <c:v>0.65650876132862179</c:v>
                </c:pt>
                <c:pt idx="1">
                  <c:v>0.32244141837562679</c:v>
                </c:pt>
                <c:pt idx="2">
                  <c:v>2.0696162435648226E-2</c:v>
                </c:pt>
                <c:pt idx="3">
                  <c:v>6.5221464920254787E-4</c:v>
                </c:pt>
                <c:pt idx="4">
                  <c:v>5.7611243929624808E-4</c:v>
                </c:pt>
                <c:pt idx="5">
                  <c:v>3.6558405426688256E-4</c:v>
                </c:pt>
                <c:pt idx="6">
                  <c:v>3.148646769410703E-4</c:v>
                </c:pt>
                <c:pt idx="7">
                  <c:v>3.0387245598054673E-4</c:v>
                </c:pt>
                <c:pt idx="8">
                  <c:v>2.5076981610394248E-4</c:v>
                </c:pt>
                <c:pt idx="9">
                  <c:v>2.4418303645436755E-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Sensitive Refills 12 Pa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Refills 6 Pack (0.6%)</c:v>
                </c:pt>
                <c:pt idx="1">
                  <c:v>None Blades (83.2%)</c:v>
                </c:pt>
                <c:pt idx="2">
                  <c:v>Schick Hydro 3 Blade Ultra Sensitive Refills 5 Pack (0.0%)</c:v>
                </c:pt>
                <c:pt idx="3">
                  <c:v>None Razors (12.2%)</c:v>
                </c:pt>
                <c:pt idx="4">
                  <c:v>Schick Xtreme 3 Sensitive Disposable Razors 4 Pack (2.8%)</c:v>
                </c:pt>
                <c:pt idx="5">
                  <c:v>Schick Xtreme 3 Sensitive Disposable Razors 8 Pack (1.7%)</c:v>
                </c:pt>
                <c:pt idx="6">
                  <c:v>Schick Xtreme 2 Sensitive Disposable Razors 12 Pack (2.7%)</c:v>
                </c:pt>
                <c:pt idx="7">
                  <c:v>Equate Speed 3 Disposable Razors 4 Pack (2.3%)</c:v>
                </c:pt>
                <c:pt idx="8">
                  <c:v>Gillette Mach 3 1 Handle + 2 Cartridges (2.7%)</c:v>
                </c:pt>
                <c:pt idx="9">
                  <c:v>Bic Flex 4 Sensitive Skin Disposable Razors 3 Pack (1.7%)</c:v>
                </c:pt>
              </c:strCache>
            </c:strRef>
          </c:cat>
          <c:val>
            <c:numRef>
              <c:f>Sheet1!$B$2:$B$11</c:f>
              <c:numCache>
                <c:formatCode>General</c:formatCode>
                <c:ptCount val="10"/>
                <c:pt idx="0">
                  <c:v>0.66239088343707986</c:v>
                </c:pt>
                <c:pt idx="1">
                  <c:v>0.31786543854482274</c:v>
                </c:pt>
                <c:pt idx="2">
                  <c:v>1.8997425878784162E-2</c:v>
                </c:pt>
                <c:pt idx="3">
                  <c:v>1.3761036920571258E-3</c:v>
                </c:pt>
                <c:pt idx="4">
                  <c:v>1.2152135083178517E-3</c:v>
                </c:pt>
                <c:pt idx="5">
                  <c:v>7.7123715303955144E-4</c:v>
                </c:pt>
                <c:pt idx="6">
                  <c:v>6.6416987531902087E-4</c:v>
                </c:pt>
                <c:pt idx="7">
                  <c:v>6.4099864797763752E-4</c:v>
                </c:pt>
                <c:pt idx="8">
                  <c:v>5.2916614794320063E-4</c:v>
                </c:pt>
                <c:pt idx="9">
                  <c:v>5.1508684988204375E-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3 Blade Pro Sensitive Refills 6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4700000000000006</c:v>
                </c:pt>
                <c:pt idx="1">
                  <c:v>8.9700000000000006</c:v>
                </c:pt>
                <c:pt idx="2">
                  <c:v>9.9700000000000006</c:v>
                </c:pt>
                <c:pt idx="3">
                  <c:v>10.97</c:v>
                </c:pt>
                <c:pt idx="4">
                  <c:v>12.47</c:v>
                </c:pt>
              </c:numCache>
            </c:numRef>
          </c:xVal>
          <c:yVal>
            <c:numRef>
              <c:f>Sheet1!$B$2:$B$6</c:f>
              <c:numCache>
                <c:formatCode>General</c:formatCode>
                <c:ptCount val="5"/>
                <c:pt idx="0">
                  <c:v>4.9556429528624067E-2</c:v>
                </c:pt>
                <c:pt idx="1">
                  <c:v>2.5635325860280191E-2</c:v>
                </c:pt>
                <c:pt idx="2">
                  <c:v>0</c:v>
                </c:pt>
                <c:pt idx="3">
                  <c:v>-5.4319702170760126E-2</c:v>
                </c:pt>
                <c:pt idx="4">
                  <c:v>-0.2458927446344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5 Blade Sensitive Refills 4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8.4700000000000006</c:v>
                </c:pt>
                <c:pt idx="1">
                  <c:v>8.9700000000000006</c:v>
                </c:pt>
                <c:pt idx="2">
                  <c:v>9.9700000000000006</c:v>
                </c:pt>
                <c:pt idx="3">
                  <c:v>10.97</c:v>
                </c:pt>
                <c:pt idx="4">
                  <c:v>11.97</c:v>
                </c:pt>
              </c:numCache>
            </c:numRef>
          </c:xVal>
          <c:yVal>
            <c:numRef>
              <c:f>Sheet1!$B$9:$B$13</c:f>
              <c:numCache>
                <c:formatCode>General</c:formatCode>
                <c:ptCount val="5"/>
                <c:pt idx="0">
                  <c:v>6.4443480949771287E-2</c:v>
                </c:pt>
                <c:pt idx="1">
                  <c:v>3.2109342090545889E-2</c:v>
                </c:pt>
                <c:pt idx="2">
                  <c:v>0</c:v>
                </c:pt>
                <c:pt idx="3">
                  <c:v>-5.3185689263196202E-2</c:v>
                </c:pt>
                <c:pt idx="4">
                  <c:v>-0.1672026789237067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Quattro Four Blade Refills 3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4.1700000000000008</c:v>
                </c:pt>
                <c:pt idx="1">
                  <c:v>4.37</c:v>
                </c:pt>
                <c:pt idx="2">
                  <c:v>4.97</c:v>
                </c:pt>
                <c:pt idx="3">
                  <c:v>5.4700000000000006</c:v>
                </c:pt>
                <c:pt idx="4">
                  <c:v>6.1700000000000008</c:v>
                </c:pt>
              </c:numCache>
            </c:numRef>
          </c:xVal>
          <c:yVal>
            <c:numRef>
              <c:f>Sheet1!$B$16:$B$20</c:f>
              <c:numCache>
                <c:formatCode>General</c:formatCode>
                <c:ptCount val="5"/>
                <c:pt idx="0">
                  <c:v>0.12127686428528732</c:v>
                </c:pt>
                <c:pt idx="1">
                  <c:v>9.006488648996322E-2</c:v>
                </c:pt>
                <c:pt idx="2">
                  <c:v>0</c:v>
                </c:pt>
                <c:pt idx="3">
                  <c:v>-0.1938876701087778</c:v>
                </c:pt>
                <c:pt idx="4">
                  <c:v>-0.4086479382865042</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Schick Quattro Four Blade Refills 6 Pack</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8.4700000000000006</c:v>
                </c:pt>
                <c:pt idx="1">
                  <c:v>8.9700000000000006</c:v>
                </c:pt>
                <c:pt idx="2">
                  <c:v>9.9700000000000006</c:v>
                </c:pt>
                <c:pt idx="3">
                  <c:v>10.97</c:v>
                </c:pt>
                <c:pt idx="4">
                  <c:v>11.97</c:v>
                </c:pt>
              </c:numCache>
            </c:numRef>
          </c:xVal>
          <c:yVal>
            <c:numRef>
              <c:f>Sheet1!$B$23:$B$27</c:f>
              <c:numCache>
                <c:formatCode>General</c:formatCode>
                <c:ptCount val="5"/>
                <c:pt idx="0">
                  <c:v>6.5177694741880385E-2</c:v>
                </c:pt>
                <c:pt idx="1">
                  <c:v>3.6127869205548606E-2</c:v>
                </c:pt>
                <c:pt idx="2">
                  <c:v>0</c:v>
                </c:pt>
                <c:pt idx="3">
                  <c:v>-7.6057448917922488E-2</c:v>
                </c:pt>
                <c:pt idx="4">
                  <c:v>-0.1885991068659849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2.47"/>
          <c:min val="4.1700000000000008"/>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B$2:$B$21</c:f>
              <c:numCache>
                <c:formatCode>General</c:formatCode>
                <c:ptCount val="20"/>
                <c:pt idx="0">
                  <c:v>104.43208132444941</c:v>
                </c:pt>
                <c:pt idx="1">
                  <c:v>103.4791679569724</c:v>
                </c:pt>
                <c:pt idx="2">
                  <c:v>102.54236044890716</c:v>
                </c:pt>
                <c:pt idx="3">
                  <c:v>102.02766926137498</c:v>
                </c:pt>
                <c:pt idx="4">
                  <c:v>101.51612134863177</c:v>
                </c:pt>
                <c:pt idx="5">
                  <c:v>101.00768274085948</c:v>
                </c:pt>
                <c:pt idx="6">
                  <c:v>100.50231995693382</c:v>
                </c:pt>
                <c:pt idx="7">
                  <c:v>100</c:v>
                </c:pt>
                <c:pt idx="8">
                  <c:v>98.886876957365189</c:v>
                </c:pt>
                <c:pt idx="9">
                  <c:v>97.79217900900079</c:v>
                </c:pt>
                <c:pt idx="10">
                  <c:v>96.715445562584307</c:v>
                </c:pt>
                <c:pt idx="11">
                  <c:v>95.656232151375619</c:v>
                </c:pt>
                <c:pt idx="12">
                  <c:v>94.61410951515316</c:v>
                </c:pt>
                <c:pt idx="13">
                  <c:v>91.823888066921711</c:v>
                </c:pt>
                <c:pt idx="14">
                  <c:v>89.115322837130421</c:v>
                </c:pt>
                <c:pt idx="15">
                  <c:v>86.485711790875698</c:v>
                </c:pt>
                <c:pt idx="16">
                  <c:v>83.932672550669579</c:v>
                </c:pt>
                <c:pt idx="17">
                  <c:v>81.454173404372071</c:v>
                </c:pt>
                <c:pt idx="18">
                  <c:v>79.048539879672703</c:v>
                </c:pt>
                <c:pt idx="19">
                  <c:v>76.71443478449150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C$2:$C$21</c:f>
              <c:numCache>
                <c:formatCode>General</c:formatCode>
                <c:ptCount val="20"/>
                <c:pt idx="0">
                  <c:v>89.891458927988893</c:v>
                </c:pt>
                <c:pt idx="1">
                  <c:v>91.129488575701117</c:v>
                </c:pt>
                <c:pt idx="2">
                  <c:v>92.343579656215155</c:v>
                </c:pt>
                <c:pt idx="3">
                  <c:v>93.910777453813949</c:v>
                </c:pt>
                <c:pt idx="4">
                  <c:v>95.459846031860451</c:v>
                </c:pt>
                <c:pt idx="5">
                  <c:v>96.990959066433945</c:v>
                </c:pt>
                <c:pt idx="6">
                  <c:v>98.50428758079606</c:v>
                </c:pt>
                <c:pt idx="7">
                  <c:v>100</c:v>
                </c:pt>
                <c:pt idx="8">
                  <c:v>100.84903163954822</c:v>
                </c:pt>
                <c:pt idx="9">
                  <c:v>101.6726788764678</c:v>
                </c:pt>
                <c:pt idx="10">
                  <c:v>102.47157731175669</c:v>
                </c:pt>
                <c:pt idx="11">
                  <c:v>103.24634186454564</c:v>
                </c:pt>
                <c:pt idx="12">
                  <c:v>103.99756744948935</c:v>
                </c:pt>
                <c:pt idx="13">
                  <c:v>102.74340943844471</c:v>
                </c:pt>
                <c:pt idx="14">
                  <c:v>101.47243311509797</c:v>
                </c:pt>
                <c:pt idx="15">
                  <c:v>100.18632401864413</c:v>
                </c:pt>
                <c:pt idx="16">
                  <c:v>98.886930426970281</c:v>
                </c:pt>
                <c:pt idx="17">
                  <c:v>97.57633230221613</c:v>
                </c:pt>
                <c:pt idx="18">
                  <c:v>96.256884043499568</c:v>
                </c:pt>
                <c:pt idx="19">
                  <c:v>94.93122510552312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D$2:$D$21</c:f>
              <c:numCache>
                <c:formatCode>General</c:formatCode>
                <c:ptCount val="20"/>
                <c:pt idx="0">
                  <c:v>85.251151029049694</c:v>
                </c:pt>
                <c:pt idx="1">
                  <c:v>87.187180490920269</c:v>
                </c:pt>
                <c:pt idx="2">
                  <c:v>89.086925793132849</c:v>
                </c:pt>
                <c:pt idx="3">
                  <c:v>91.317739875234309</c:v>
                </c:pt>
                <c:pt idx="4">
                  <c:v>93.524235590231157</c:v>
                </c:pt>
                <c:pt idx="5">
                  <c:v>95.706633276943393</c:v>
                </c:pt>
                <c:pt idx="6">
                  <c:v>97.865150077580978</c:v>
                </c:pt>
                <c:pt idx="7">
                  <c:v>100</c:v>
                </c:pt>
                <c:pt idx="8">
                  <c:v>101.47527650644292</c:v>
                </c:pt>
                <c:pt idx="9">
                  <c:v>102.91136476485036</c:v>
                </c:pt>
                <c:pt idx="10">
                  <c:v>104.30923505626799</c:v>
                </c:pt>
                <c:pt idx="11">
                  <c:v>105.66982612757445</c:v>
                </c:pt>
                <c:pt idx="12">
                  <c:v>106.99404632534643</c:v>
                </c:pt>
                <c:pt idx="13">
                  <c:v>106.22331965686649</c:v>
                </c:pt>
                <c:pt idx="14">
                  <c:v>105.40424387124719</c:v>
                </c:pt>
                <c:pt idx="15">
                  <c:v>104.5399449988705</c:v>
                </c:pt>
                <c:pt idx="16">
                  <c:v>103.63365775711655</c:v>
                </c:pt>
                <c:pt idx="17">
                  <c:v>102.68880728867167</c:v>
                </c:pt>
                <c:pt idx="18">
                  <c:v>101.70906399579044</c:v>
                </c:pt>
                <c:pt idx="19">
                  <c:v>100.6983642792316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E$2:$E$21</c:f>
              <c:numCache>
                <c:formatCode>General</c:formatCode>
                <c:ptCount val="20"/>
                <c:pt idx="0">
                  <c:v>0.72467752513355788</c:v>
                </c:pt>
                <c:pt idx="1">
                  <c:v>0.73095625888193738</c:v>
                </c:pt>
                <c:pt idx="2">
                  <c:v>0.73695500450329887</c:v>
                </c:pt>
                <c:pt idx="3">
                  <c:v>0.74269208183147117</c:v>
                </c:pt>
                <c:pt idx="4">
                  <c:v>0.74818424657359572</c:v>
                </c:pt>
                <c:pt idx="5">
                  <c:v>0.75344685375074105</c:v>
                </c:pt>
                <c:pt idx="6">
                  <c:v>0.75849400106392961</c:v>
                </c:pt>
                <c:pt idx="7">
                  <c:v>0.76333865500447251</c:v>
                </c:pt>
                <c:pt idx="8">
                  <c:v>0.76799276208403056</c:v>
                </c:pt>
                <c:pt idx="9">
                  <c:v>0.77246734719330679</c:v>
                </c:pt>
                <c:pt idx="10">
                  <c:v>0.7767726007941903</c:v>
                </c:pt>
                <c:pt idx="11">
                  <c:v>0.78091795639689798</c:v>
                </c:pt>
                <c:pt idx="12">
                  <c:v>0.78491215956195004</c:v>
                </c:pt>
                <c:pt idx="13">
                  <c:v>0.78876332948922045</c:v>
                </c:pt>
                <c:pt idx="14">
                  <c:v>0.79247901410682431</c:v>
                </c:pt>
                <c:pt idx="15">
                  <c:v>0.79606623944637778</c:v>
                </c:pt>
                <c:pt idx="16">
                  <c:v>0.79953155398424736</c:v>
                </c:pt>
                <c:pt idx="17">
                  <c:v>0.80288106853755981</c:v>
                </c:pt>
                <c:pt idx="18">
                  <c:v>0.80612049222634286</c:v>
                </c:pt>
                <c:pt idx="19">
                  <c:v>0.8092551649470163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3 Blade Pro Sensitiv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55883449278948627</c:v>
                </c:pt>
                <c:pt idx="1">
                  <c:v>0.30538407559433761</c:v>
                </c:pt>
                <c:pt idx="2">
                  <c:v>8.5404798578793031E-2</c:v>
                </c:pt>
                <c:pt idx="3">
                  <c:v>4.9614765822521799E-2</c:v>
                </c:pt>
                <c:pt idx="4">
                  <c:v>1.4052140492967688E-3</c:v>
                </c:pt>
                <c:pt idx="5">
                  <c:v>1.2416926262130219E-3</c:v>
                </c:pt>
                <c:pt idx="6">
                  <c:v>7.8780682589564251E-4</c:v>
                </c:pt>
                <c:pt idx="7">
                  <c:v>6.7860566061190165E-4</c:v>
                </c:pt>
                <c:pt idx="8">
                  <c:v>6.5489359050041986E-4</c:v>
                </c:pt>
                <c:pt idx="9">
                  <c:v>5.4019648507882818E-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3 Blade Pro Sensitiv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64097962495449368</c:v>
                </c:pt>
                <c:pt idx="1">
                  <c:v>0.2382645683960852</c:v>
                </c:pt>
                <c:pt idx="2">
                  <c:v>6.4068014471922508E-2</c:v>
                </c:pt>
                <c:pt idx="3">
                  <c:v>5.6449320648651262E-2</c:v>
                </c:pt>
                <c:pt idx="4">
                  <c:v>4.3983334544831892E-4</c:v>
                </c:pt>
                <c:pt idx="5">
                  <c:v>3.8862233454689272E-4</c:v>
                </c:pt>
                <c:pt idx="6">
                  <c:v>2.4657483719183647E-4</c:v>
                </c:pt>
                <c:pt idx="7">
                  <c:v>2.1238991196248754E-4</c:v>
                </c:pt>
                <c:pt idx="8">
                  <c:v>2.049698873729997E-4</c:v>
                </c:pt>
                <c:pt idx="9">
                  <c:v>1.690880853366196E-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strCache>
            </c:strRef>
          </c:cat>
          <c:val>
            <c:numRef>
              <c:f>Sheet1!$B$2:$B$19</c:f>
              <c:numCache>
                <c:formatCode>General</c:formatCode>
                <c:ptCount val="18"/>
                <c:pt idx="0">
                  <c:v>105.69497276203661</c:v>
                </c:pt>
                <c:pt idx="1">
                  <c:v>104.4163552983499</c:v>
                </c:pt>
                <c:pt idx="2">
                  <c:v>103.16155475766099</c:v>
                </c:pt>
                <c:pt idx="3">
                  <c:v>102.52071833614784</c:v>
                </c:pt>
                <c:pt idx="4">
                  <c:v>101.88418212627954</c:v>
                </c:pt>
                <c:pt idx="5">
                  <c:v>101.25190852569636</c:v>
                </c:pt>
                <c:pt idx="6">
                  <c:v>100.62386018153174</c:v>
                </c:pt>
                <c:pt idx="7">
                  <c:v>100</c:v>
                </c:pt>
                <c:pt idx="8">
                  <c:v>98.917921013312935</c:v>
                </c:pt>
                <c:pt idx="9">
                  <c:v>97.853174633909987</c:v>
                </c:pt>
                <c:pt idx="10">
                  <c:v>96.805330689136937</c:v>
                </c:pt>
                <c:pt idx="11">
                  <c:v>95.773973019933024</c:v>
                </c:pt>
                <c:pt idx="12">
                  <c:v>94.758698935359746</c:v>
                </c:pt>
                <c:pt idx="13">
                  <c:v>92.342025143700496</c:v>
                </c:pt>
                <c:pt idx="14">
                  <c:v>90.009303282352562</c:v>
                </c:pt>
                <c:pt idx="15">
                  <c:v>87.758310935352426</c:v>
                </c:pt>
                <c:pt idx="16">
                  <c:v>85.586676000370332</c:v>
                </c:pt>
                <c:pt idx="17">
                  <c:v>83.49189154000076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strCache>
            </c:strRef>
          </c:cat>
          <c:val>
            <c:numRef>
              <c:f>Sheet1!$C$2:$C$19</c:f>
              <c:numCache>
                <c:formatCode>General</c:formatCode>
                <c:ptCount val="18"/>
                <c:pt idx="0">
                  <c:v>91.050989825305862</c:v>
                </c:pt>
                <c:pt idx="1">
                  <c:v>92.014622298619614</c:v>
                </c:pt>
                <c:pt idx="2">
                  <c:v>92.94839808268469</c:v>
                </c:pt>
                <c:pt idx="3">
                  <c:v>94.402670452584161</c:v>
                </c:pt>
                <c:pt idx="4">
                  <c:v>95.8347152957828</c:v>
                </c:pt>
                <c:pt idx="5">
                  <c:v>97.244785966681221</c:v>
                </c:pt>
                <c:pt idx="6">
                  <c:v>98.633132166322994</c:v>
                </c:pt>
                <c:pt idx="7">
                  <c:v>100</c:v>
                </c:pt>
                <c:pt idx="8">
                  <c:v>100.87008158064251</c:v>
                </c:pt>
                <c:pt idx="9">
                  <c:v>101.71489291472098</c:v>
                </c:pt>
                <c:pt idx="10">
                  <c:v>102.53504435641334</c:v>
                </c:pt>
                <c:pt idx="11">
                  <c:v>103.33112523595189</c:v>
                </c:pt>
                <c:pt idx="12">
                  <c:v>104.1037047688818</c:v>
                </c:pt>
                <c:pt idx="13">
                  <c:v>103.25815655271207</c:v>
                </c:pt>
                <c:pt idx="14">
                  <c:v>102.41379805936117</c:v>
                </c:pt>
                <c:pt idx="15">
                  <c:v>101.57297435236077</c:v>
                </c:pt>
                <c:pt idx="16">
                  <c:v>100.737677452238</c:v>
                </c:pt>
                <c:pt idx="17">
                  <c:v>99.90955023720589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strCache>
            </c:strRef>
          </c:cat>
          <c:val>
            <c:numRef>
              <c:f>Sheet1!$D$2:$D$19</c:f>
              <c:numCache>
                <c:formatCode>General</c:formatCode>
                <c:ptCount val="18"/>
                <c:pt idx="0">
                  <c:v>88.650667704085109</c:v>
                </c:pt>
                <c:pt idx="1">
                  <c:v>89.979415551297024</c:v>
                </c:pt>
                <c:pt idx="2">
                  <c:v>91.269846535207861</c:v>
                </c:pt>
                <c:pt idx="3">
                  <c:v>93.06722598436383</c:v>
                </c:pt>
                <c:pt idx="4">
                  <c:v>94.838659545497521</c:v>
                </c:pt>
                <c:pt idx="5">
                  <c:v>96.584420468538482</c:v>
                </c:pt>
                <c:pt idx="6">
                  <c:v>98.304778514578061</c:v>
                </c:pt>
                <c:pt idx="7">
                  <c:v>100</c:v>
                </c:pt>
                <c:pt idx="8">
                  <c:v>101.18970395844664</c:v>
                </c:pt>
                <c:pt idx="9">
                  <c:v>102.34737683778761</c:v>
                </c:pt>
                <c:pt idx="10">
                  <c:v>103.47377940445716</c:v>
                </c:pt>
                <c:pt idx="11">
                  <c:v>104.5696468217226</c:v>
                </c:pt>
                <c:pt idx="12">
                  <c:v>105.63568973048172</c:v>
                </c:pt>
                <c:pt idx="13">
                  <c:v>105.03729336131067</c:v>
                </c:pt>
                <c:pt idx="14">
                  <c:v>104.42660073051746</c:v>
                </c:pt>
                <c:pt idx="15">
                  <c:v>103.80673119167862</c:v>
                </c:pt>
                <c:pt idx="16">
                  <c:v>103.18041358260545</c:v>
                </c:pt>
                <c:pt idx="17">
                  <c:v>102.5499885038634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strCache>
            </c:strRef>
          </c:cat>
          <c:val>
            <c:numRef>
              <c:f>Sheet1!$E$2:$E$19</c:f>
              <c:numCache>
                <c:formatCode>General</c:formatCode>
                <c:ptCount val="18"/>
                <c:pt idx="0">
                  <c:v>0.84519772207319777</c:v>
                </c:pt>
                <c:pt idx="1">
                  <c:v>0.84872799066902005</c:v>
                </c:pt>
                <c:pt idx="2">
                  <c:v>0.85210083368643308</c:v>
                </c:pt>
                <c:pt idx="3">
                  <c:v>0.85532655159948801</c:v>
                </c:pt>
                <c:pt idx="4">
                  <c:v>0.85841456543941363</c:v>
                </c:pt>
                <c:pt idx="5">
                  <c:v>0.86137350869041862</c:v>
                </c:pt>
                <c:pt idx="6">
                  <c:v>0.86421130789839362</c:v>
                </c:pt>
                <c:pt idx="7">
                  <c:v>0.86693525357746293</c:v>
                </c:pt>
                <c:pt idx="8">
                  <c:v>0.86955206274998087</c:v>
                </c:pt>
                <c:pt idx="9">
                  <c:v>0.87206793424949902</c:v>
                </c:pt>
                <c:pt idx="10">
                  <c:v>0.87448859774525123</c:v>
                </c:pt>
                <c:pt idx="11">
                  <c:v>0.87681935730429938</c:v>
                </c:pt>
                <c:pt idx="12">
                  <c:v>0.87906513018845078</c:v>
                </c:pt>
                <c:pt idx="13">
                  <c:v>0.8812304814831966</c:v>
                </c:pt>
                <c:pt idx="14">
                  <c:v>0.88331965507188259</c:v>
                </c:pt>
                <c:pt idx="15">
                  <c:v>0.88533660139734704</c:v>
                </c:pt>
                <c:pt idx="16">
                  <c:v>0.88728500239314412</c:v>
                </c:pt>
                <c:pt idx="17">
                  <c:v>0.8891682939153973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1000000000000001"/>
          <c:min val="0.7"/>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Sensitive Refills 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56396163569655799</c:v>
                </c:pt>
                <c:pt idx="1">
                  <c:v>0.33115590305812659</c:v>
                </c:pt>
                <c:pt idx="2">
                  <c:v>6.6021544246950711E-2</c:v>
                </c:pt>
                <c:pt idx="3">
                  <c:v>3.8260586775884613E-2</c:v>
                </c:pt>
                <c:pt idx="4">
                  <c:v>1.1072696319116406E-3</c:v>
                </c:pt>
                <c:pt idx="5">
                  <c:v>9.7841929338974795E-4</c:v>
                </c:pt>
                <c:pt idx="6">
                  <c:v>6.207698923615878E-4</c:v>
                </c:pt>
                <c:pt idx="7">
                  <c:v>5.3472240788862702E-4</c:v>
                </c:pt>
                <c:pt idx="8">
                  <c:v>5.1603795539731942E-4</c:v>
                </c:pt>
                <c:pt idx="9">
                  <c:v>4.2565982278111537E-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Sensitive Refills 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59573666055213725</c:v>
                </c:pt>
                <c:pt idx="1">
                  <c:v>0.29283192914640205</c:v>
                </c:pt>
                <c:pt idx="2">
                  <c:v>6.0170241067093296E-2</c:v>
                </c:pt>
                <c:pt idx="3">
                  <c:v>5.1004448203014321E-2</c:v>
                </c:pt>
                <c:pt idx="4">
                  <c:v>4.7349248038959908E-4</c:v>
                </c:pt>
                <c:pt idx="5">
                  <c:v>4.1836244346559267E-4</c:v>
                </c:pt>
                <c:pt idx="6">
                  <c:v>2.654444745307349E-4</c:v>
                </c:pt>
                <c:pt idx="7">
                  <c:v>2.2864347886661848E-4</c:v>
                </c:pt>
                <c:pt idx="8">
                  <c:v>2.2065562191173638E-4</c:v>
                </c:pt>
                <c:pt idx="9">
                  <c:v>1.8202789251632948E-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ollar Shave Club (2.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quate (21.7%)</c:v>
                </c:pt>
                <c:pt idx="1">
                  <c:v>Bic (16.9%)</c:v>
                </c:pt>
                <c:pt idx="2">
                  <c:v>Harrys (11.2%)</c:v>
                </c:pt>
                <c:pt idx="3">
                  <c:v>Gillette (38.7%)</c:v>
                </c:pt>
                <c:pt idx="4">
                  <c:v>Schick (11.2%)</c:v>
                </c:pt>
                <c:pt idx="5">
                  <c:v>Van Der Hagen (2.0%)</c:v>
                </c:pt>
              </c:strCache>
            </c:strRef>
          </c:cat>
          <c:val>
            <c:numRef>
              <c:f>Sheet1!$B$2:$B$7</c:f>
              <c:numCache>
                <c:formatCode>General</c:formatCode>
                <c:ptCount val="6"/>
                <c:pt idx="0">
                  <c:v>0.25137030662131804</c:v>
                </c:pt>
                <c:pt idx="1">
                  <c:v>0.17121835463309548</c:v>
                </c:pt>
                <c:pt idx="2">
                  <c:v>0.13962769153679419</c:v>
                </c:pt>
                <c:pt idx="3">
                  <c:v>0.12883718801115429</c:v>
                </c:pt>
                <c:pt idx="4">
                  <c:v>5.7745800448018442E-2</c:v>
                </c:pt>
                <c:pt idx="5">
                  <c:v>4.1716072626408786E-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1</c:f>
              <c:strCache>
                <c:ptCount val="10"/>
                <c:pt idx="0">
                  <c:v>4.37</c:v>
                </c:pt>
                <c:pt idx="1">
                  <c:v>4.57</c:v>
                </c:pt>
                <c:pt idx="2">
                  <c:v>4.77</c:v>
                </c:pt>
                <c:pt idx="3">
                  <c:v>4.97</c:v>
                </c:pt>
                <c:pt idx="4">
                  <c:v>5.17</c:v>
                </c:pt>
                <c:pt idx="5">
                  <c:v>5.37</c:v>
                </c:pt>
                <c:pt idx="6">
                  <c:v>5.57</c:v>
                </c:pt>
                <c:pt idx="7">
                  <c:v>5.77</c:v>
                </c:pt>
                <c:pt idx="8">
                  <c:v>5.97</c:v>
                </c:pt>
                <c:pt idx="9">
                  <c:v>6.17</c:v>
                </c:pt>
              </c:strCache>
            </c:strRef>
          </c:cat>
          <c:val>
            <c:numRef>
              <c:f>Sheet1!$B$2:$B$11</c:f>
              <c:numCache>
                <c:formatCode>General</c:formatCode>
                <c:ptCount val="10"/>
                <c:pt idx="0">
                  <c:v>108.980188626762</c:v>
                </c:pt>
                <c:pt idx="1">
                  <c:v>105.92755332828301</c:v>
                </c:pt>
                <c:pt idx="2">
                  <c:v>102.93398001085772</c:v>
                </c:pt>
                <c:pt idx="3">
                  <c:v>100</c:v>
                </c:pt>
                <c:pt idx="4">
                  <c:v>91.870501589792383</c:v>
                </c:pt>
                <c:pt idx="5">
                  <c:v>84.258127222224289</c:v>
                </c:pt>
                <c:pt idx="6">
                  <c:v>77.184267560751778</c:v>
                </c:pt>
                <c:pt idx="7">
                  <c:v>70.655720493373337</c:v>
                </c:pt>
                <c:pt idx="8">
                  <c:v>64.666483251965929</c:v>
                </c:pt>
                <c:pt idx="9">
                  <c:v>59.20002844829138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1</c:f>
              <c:strCache>
                <c:ptCount val="10"/>
                <c:pt idx="0">
                  <c:v>4.37</c:v>
                </c:pt>
                <c:pt idx="1">
                  <c:v>4.57</c:v>
                </c:pt>
                <c:pt idx="2">
                  <c:v>4.77</c:v>
                </c:pt>
                <c:pt idx="3">
                  <c:v>4.97</c:v>
                </c:pt>
                <c:pt idx="4">
                  <c:v>5.17</c:v>
                </c:pt>
                <c:pt idx="5">
                  <c:v>5.37</c:v>
                </c:pt>
                <c:pt idx="6">
                  <c:v>5.57</c:v>
                </c:pt>
                <c:pt idx="7">
                  <c:v>5.77</c:v>
                </c:pt>
                <c:pt idx="8">
                  <c:v>5.97</c:v>
                </c:pt>
                <c:pt idx="9">
                  <c:v>6.17</c:v>
                </c:pt>
              </c:strCache>
            </c:strRef>
          </c:cat>
          <c:val>
            <c:numRef>
              <c:f>Sheet1!$C$2:$C$11</c:f>
              <c:numCache>
                <c:formatCode>General</c:formatCode>
                <c:ptCount val="10"/>
                <c:pt idx="0">
                  <c:v>95.849790093266989</c:v>
                </c:pt>
                <c:pt idx="1">
                  <c:v>97.419631342695169</c:v>
                </c:pt>
                <c:pt idx="2">
                  <c:v>98.800460894074277</c:v>
                </c:pt>
                <c:pt idx="3">
                  <c:v>100</c:v>
                </c:pt>
                <c:pt idx="4">
                  <c:v>95.549882741766396</c:v>
                </c:pt>
                <c:pt idx="5">
                  <c:v>91.007228871500558</c:v>
                </c:pt>
                <c:pt idx="6">
                  <c:v>86.458237614007814</c:v>
                </c:pt>
                <c:pt idx="7">
                  <c:v>81.975539740237949</c:v>
                </c:pt>
                <c:pt idx="8">
                  <c:v>77.617446210321845</c:v>
                </c:pt>
                <c:pt idx="9">
                  <c:v>73.42822510308022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1</c:f>
              <c:strCache>
                <c:ptCount val="10"/>
                <c:pt idx="0">
                  <c:v>4.37</c:v>
                </c:pt>
                <c:pt idx="1">
                  <c:v>4.57</c:v>
                </c:pt>
                <c:pt idx="2">
                  <c:v>4.77</c:v>
                </c:pt>
                <c:pt idx="3">
                  <c:v>4.97</c:v>
                </c:pt>
                <c:pt idx="4">
                  <c:v>5.17</c:v>
                </c:pt>
                <c:pt idx="5">
                  <c:v>5.37</c:v>
                </c:pt>
                <c:pt idx="6">
                  <c:v>5.57</c:v>
                </c:pt>
                <c:pt idx="7">
                  <c:v>5.77</c:v>
                </c:pt>
                <c:pt idx="8">
                  <c:v>5.97</c:v>
                </c:pt>
                <c:pt idx="9">
                  <c:v>6.17</c:v>
                </c:pt>
              </c:strCache>
            </c:strRef>
          </c:cat>
          <c:val>
            <c:numRef>
              <c:f>Sheet1!$D$2:$D$11</c:f>
              <c:numCache>
                <c:formatCode>General</c:formatCode>
                <c:ptCount val="10"/>
                <c:pt idx="0">
                  <c:v>88.926270544386298</c:v>
                </c:pt>
                <c:pt idx="1">
                  <c:v>92.933657716909806</c:v>
                </c:pt>
                <c:pt idx="2">
                  <c:v>96.621065071368747</c:v>
                </c:pt>
                <c:pt idx="3">
                  <c:v>100</c:v>
                </c:pt>
                <c:pt idx="4">
                  <c:v>97.4904005928462</c:v>
                </c:pt>
                <c:pt idx="5">
                  <c:v>94.565660188068691</c:v>
                </c:pt>
                <c:pt idx="6">
                  <c:v>91.346481148180175</c:v>
                </c:pt>
                <c:pt idx="7">
                  <c:v>87.940490812816392</c:v>
                </c:pt>
                <c:pt idx="8">
                  <c:v>84.440143377867798</c:v>
                </c:pt>
                <c:pt idx="9">
                  <c:v>80.92194294819218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1</c:f>
              <c:strCache>
                <c:ptCount val="10"/>
                <c:pt idx="0">
                  <c:v>4.37</c:v>
                </c:pt>
                <c:pt idx="1">
                  <c:v>4.57</c:v>
                </c:pt>
                <c:pt idx="2">
                  <c:v>4.77</c:v>
                </c:pt>
                <c:pt idx="3">
                  <c:v>4.97</c:v>
                </c:pt>
                <c:pt idx="4">
                  <c:v>5.17</c:v>
                </c:pt>
                <c:pt idx="5">
                  <c:v>5.37</c:v>
                </c:pt>
                <c:pt idx="6">
                  <c:v>5.57</c:v>
                </c:pt>
                <c:pt idx="7">
                  <c:v>5.77</c:v>
                </c:pt>
                <c:pt idx="8">
                  <c:v>5.97</c:v>
                </c:pt>
                <c:pt idx="9">
                  <c:v>6.17</c:v>
                </c:pt>
              </c:strCache>
            </c:strRef>
          </c:cat>
          <c:val>
            <c:numRef>
              <c:f>Sheet1!$E$2:$E$11</c:f>
              <c:numCache>
                <c:formatCode>General</c:formatCode>
                <c:ptCount val="10"/>
                <c:pt idx="0">
                  <c:v>0.6080390428468595</c:v>
                </c:pt>
                <c:pt idx="1">
                  <c:v>0.62519269523868193</c:v>
                </c:pt>
                <c:pt idx="2">
                  <c:v>0.64090788621399919</c:v>
                </c:pt>
                <c:pt idx="3">
                  <c:v>0.65535827308667538</c:v>
                </c:pt>
                <c:pt idx="4">
                  <c:v>0.66869064163264524</c:v>
                </c:pt>
                <c:pt idx="5">
                  <c:v>0.68102991010070313</c:v>
                </c:pt>
                <c:pt idx="6">
                  <c:v>0.69248305515992392</c:v>
                </c:pt>
                <c:pt idx="7">
                  <c:v>0.70314222135888671</c:v>
                </c:pt>
                <c:pt idx="8">
                  <c:v>0.71308720556796923</c:v>
                </c:pt>
                <c:pt idx="9">
                  <c:v>0.7223874582237886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Quattro Four Blade Refill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Equate Easy Fit 5 Blade Refills 4 Pack (0.6%)</c:v>
                </c:pt>
                <c:pt idx="2">
                  <c:v>Gillette Mach 3 Blade Refills 4 Pack (1.3%)</c:v>
                </c:pt>
                <c:pt idx="3">
                  <c:v>Schick Xtreme 2 Sensitive Disposable Razors 12 Pack (2.7%)</c:v>
                </c:pt>
                <c:pt idx="4">
                  <c:v>Schick Xtreme 5 Sensitive Disposable Razors 8 Pack (0.0%)</c:v>
                </c:pt>
                <c:pt idx="5">
                  <c:v>Schick Xtreme 2 Sensitive Disposable Razors 24 Pack (0.0%)</c:v>
                </c:pt>
                <c:pt idx="6">
                  <c:v>Schick Xtreme 5 Sensitive Disposable Razors 2 Pack (0.0%)</c:v>
                </c:pt>
                <c:pt idx="7">
                  <c:v>Schick Xtreme 5 Sensitive Disposable Razors 4 Pack (0.0%)</c:v>
                </c:pt>
                <c:pt idx="8">
                  <c:v>Schick Xtreme 3 Body &amp; Groin Disposable Razors 3 Pack (0.0%)</c:v>
                </c:pt>
                <c:pt idx="9">
                  <c:v>Schick Hydro 5 Ultimate Comfort Disposable Razors 3 Pack (0.0%)</c:v>
                </c:pt>
              </c:strCache>
            </c:strRef>
          </c:cat>
          <c:val>
            <c:numRef>
              <c:f>Sheet1!$B$2:$B$11</c:f>
              <c:numCache>
                <c:formatCode>General</c:formatCode>
                <c:ptCount val="10"/>
                <c:pt idx="0">
                  <c:v>0.99999999999840594</c:v>
                </c:pt>
                <c:pt idx="1">
                  <c:v>1.01714698796588E-13</c:v>
                </c:pt>
                <c:pt idx="2">
                  <c:v>1.01714698796588E-13</c:v>
                </c:pt>
                <c:pt idx="3">
                  <c:v>0</c:v>
                </c:pt>
                <c:pt idx="4">
                  <c:v>0</c:v>
                </c:pt>
                <c:pt idx="5">
                  <c:v>0</c:v>
                </c:pt>
                <c:pt idx="6">
                  <c:v>0</c:v>
                </c:pt>
                <c:pt idx="7">
                  <c:v>0</c:v>
                </c:pt>
                <c:pt idx="8">
                  <c:v>0</c:v>
                </c:pt>
                <c:pt idx="9">
                  <c:v>0</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Quattro Four Blade Refill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Harry's Men Five Blade Refills 8 Pack (1.6%)</c:v>
                </c:pt>
                <c:pt idx="2">
                  <c:v>Gillette Fusion 5 Proglide Blade Refills 12 Pack (0.8%)</c:v>
                </c:pt>
                <c:pt idx="3">
                  <c:v>Dollar Shave Club 6 Blades Blade Refills 8 Pack (0.3%)</c:v>
                </c:pt>
                <c:pt idx="4">
                  <c:v>Schick Xtreme 2 Sensitive Disposable Razors 12 Pack (2.7%)</c:v>
                </c:pt>
                <c:pt idx="5">
                  <c:v>Schick Xtreme 2 Sensitive Disposable Razors 24 Pack (0.0%)</c:v>
                </c:pt>
                <c:pt idx="6">
                  <c:v>Schick Xtreme 5 Sensitive Disposable Razors 2 Pack (0.0%)</c:v>
                </c:pt>
                <c:pt idx="7">
                  <c:v>Schick Xtreme 5 Sensitive Disposable Razors 4 Pack (0.0%)</c:v>
                </c:pt>
                <c:pt idx="8">
                  <c:v>Schick Xtreme 3 Body &amp; Groin Disposable Razors 3 Pack (0.0%)</c:v>
                </c:pt>
                <c:pt idx="9">
                  <c:v>Schick Hydro 5 Ultimate Comfort Disposable Razors 3 Pack (0.0%)</c:v>
                </c:pt>
              </c:strCache>
            </c:strRef>
          </c:cat>
          <c:val>
            <c:numRef>
              <c:f>Sheet1!$B$2:$B$11</c:f>
              <c:numCache>
                <c:formatCode>General</c:formatCode>
                <c:ptCount val="10"/>
                <c:pt idx="0">
                  <c:v>0.99999999999965006</c:v>
                </c:pt>
                <c:pt idx="1">
                  <c:v>5.4561566374183352E-14</c:v>
                </c:pt>
                <c:pt idx="2">
                  <c:v>2.7280783187091676E-14</c:v>
                </c:pt>
                <c:pt idx="3">
                  <c:v>6.820195796772919E-15</c:v>
                </c:pt>
                <c:pt idx="4">
                  <c:v>0</c:v>
                </c:pt>
                <c:pt idx="5">
                  <c:v>0</c:v>
                </c:pt>
                <c:pt idx="6">
                  <c:v>0</c:v>
                </c:pt>
                <c:pt idx="7">
                  <c:v>0</c:v>
                </c:pt>
                <c:pt idx="8">
                  <c:v>0</c:v>
                </c:pt>
                <c:pt idx="9">
                  <c:v>0</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strCache>
            </c:strRef>
          </c:cat>
          <c:val>
            <c:numRef>
              <c:f>Sheet1!$B$2:$B$19</c:f>
              <c:numCache>
                <c:formatCode>General</c:formatCode>
                <c:ptCount val="18"/>
                <c:pt idx="0">
                  <c:v>105.92371683870047</c:v>
                </c:pt>
                <c:pt idx="1">
                  <c:v>104.76133184186138</c:v>
                </c:pt>
                <c:pt idx="2">
                  <c:v>103.60760169584955</c:v>
                </c:pt>
                <c:pt idx="3">
                  <c:v>102.87155840894077</c:v>
                </c:pt>
                <c:pt idx="4">
                  <c:v>102.14285889773147</c:v>
                </c:pt>
                <c:pt idx="5">
                  <c:v>101.42142096072493</c:v>
                </c:pt>
                <c:pt idx="6">
                  <c:v>100.70716218308311</c:v>
                </c:pt>
                <c:pt idx="7">
                  <c:v>100</c:v>
                </c:pt>
                <c:pt idx="8">
                  <c:v>98.40818628751542</c:v>
                </c:pt>
                <c:pt idx="9">
                  <c:v>96.853639721361873</c:v>
                </c:pt>
                <c:pt idx="10">
                  <c:v>95.335397123790344</c:v>
                </c:pt>
                <c:pt idx="11">
                  <c:v>93.852498767269736</c:v>
                </c:pt>
                <c:pt idx="12">
                  <c:v>92.403990783828647</c:v>
                </c:pt>
                <c:pt idx="13">
                  <c:v>90.039504439857566</c:v>
                </c:pt>
                <c:pt idx="14">
                  <c:v>87.734190513110406</c:v>
                </c:pt>
                <c:pt idx="15">
                  <c:v>85.486861025960863</c:v>
                </c:pt>
                <c:pt idx="16">
                  <c:v>83.296304929941627</c:v>
                </c:pt>
                <c:pt idx="17">
                  <c:v>81.1612935286736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strCache>
            </c:strRef>
          </c:cat>
          <c:val>
            <c:numRef>
              <c:f>Sheet1!$C$2:$C$19</c:f>
              <c:numCache>
                <c:formatCode>General</c:formatCode>
                <c:ptCount val="18"/>
                <c:pt idx="0">
                  <c:v>91.06369496971773</c:v>
                </c:pt>
                <c:pt idx="1">
                  <c:v>92.163944860116686</c:v>
                </c:pt>
                <c:pt idx="2">
                  <c:v>93.225327378644991</c:v>
                </c:pt>
                <c:pt idx="3">
                  <c:v>94.624863271304733</c:v>
                </c:pt>
                <c:pt idx="4">
                  <c:v>96.001736659531247</c:v>
                </c:pt>
                <c:pt idx="5">
                  <c:v>97.356312803814063</c:v>
                </c:pt>
                <c:pt idx="6">
                  <c:v>98.688950075151794</c:v>
                </c:pt>
                <c:pt idx="7">
                  <c:v>100</c:v>
                </c:pt>
                <c:pt idx="8">
                  <c:v>100.37975414144572</c:v>
                </c:pt>
                <c:pt idx="9">
                  <c:v>100.73446068820442</c:v>
                </c:pt>
                <c:pt idx="10">
                  <c:v>101.06534143253809</c:v>
                </c:pt>
                <c:pt idx="11">
                  <c:v>101.37354443064265</c:v>
                </c:pt>
                <c:pt idx="12">
                  <c:v>101.66014702313913</c:v>
                </c:pt>
                <c:pt idx="13">
                  <c:v>100.86213244617656</c:v>
                </c:pt>
                <c:pt idx="14">
                  <c:v>100.03688595152546</c:v>
                </c:pt>
                <c:pt idx="15">
                  <c:v>99.186585684981523</c:v>
                </c:pt>
                <c:pt idx="16">
                  <c:v>98.313287067412162</c:v>
                </c:pt>
                <c:pt idx="17">
                  <c:v>97.41892703506624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strCache>
            </c:strRef>
          </c:cat>
          <c:val>
            <c:numRef>
              <c:f>Sheet1!$D$2:$D$19</c:f>
              <c:numCache>
                <c:formatCode>General</c:formatCode>
                <c:ptCount val="18"/>
                <c:pt idx="0">
                  <c:v>83.270522155090632</c:v>
                </c:pt>
                <c:pt idx="1">
                  <c:v>85.557236457042166</c:v>
                </c:pt>
                <c:pt idx="2">
                  <c:v>87.780169118774282</c:v>
                </c:pt>
                <c:pt idx="3">
                  <c:v>90.299672274824331</c:v>
                </c:pt>
                <c:pt idx="4">
                  <c:v>92.780814144902223</c:v>
                </c:pt>
                <c:pt idx="5">
                  <c:v>95.224192678844702</c:v>
                </c:pt>
                <c:pt idx="6">
                  <c:v>97.630395512482821</c:v>
                </c:pt>
                <c:pt idx="7">
                  <c:v>100</c:v>
                </c:pt>
                <c:pt idx="8">
                  <c:v>101.4134120291946</c:v>
                </c:pt>
                <c:pt idx="9">
                  <c:v>102.76906707242541</c:v>
                </c:pt>
                <c:pt idx="10">
                  <c:v>104.06933471775402</c:v>
                </c:pt>
                <c:pt idx="11">
                  <c:v>105.31647025642235</c:v>
                </c:pt>
                <c:pt idx="12">
                  <c:v>106.51261802156222</c:v>
                </c:pt>
                <c:pt idx="13">
                  <c:v>106.5350368856689</c:v>
                </c:pt>
                <c:pt idx="14">
                  <c:v>106.4848624085429</c:v>
                </c:pt>
                <c:pt idx="15">
                  <c:v>106.36604558500305</c:v>
                </c:pt>
                <c:pt idx="16">
                  <c:v>106.18236195144399</c:v>
                </c:pt>
                <c:pt idx="17">
                  <c:v>105.937415216553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strCache>
            </c:strRef>
          </c:cat>
          <c:val>
            <c:numRef>
              <c:f>Sheet1!$E$2:$E$19</c:f>
              <c:numCache>
                <c:formatCode>General</c:formatCode>
                <c:ptCount val="18"/>
                <c:pt idx="0">
                  <c:v>0.60026385466529208</c:v>
                </c:pt>
                <c:pt idx="1">
                  <c:v>0.60937984429664216</c:v>
                </c:pt>
                <c:pt idx="2">
                  <c:v>0.6180893237995041</c:v>
                </c:pt>
                <c:pt idx="3">
                  <c:v>0.62641889143746488</c:v>
                </c:pt>
                <c:pt idx="4">
                  <c:v>0.63439287454445614</c:v>
                </c:pt>
                <c:pt idx="5">
                  <c:v>0.64203356682147894</c:v>
                </c:pt>
                <c:pt idx="6">
                  <c:v>0.64936143648736466</c:v>
                </c:pt>
                <c:pt idx="7">
                  <c:v>0.65639530937628421</c:v>
                </c:pt>
                <c:pt idx="8">
                  <c:v>0.66315253043083122</c:v>
                </c:pt>
                <c:pt idx="9">
                  <c:v>0.66964910650738219</c:v>
                </c:pt>
                <c:pt idx="10">
                  <c:v>0.67589983296892631</c:v>
                </c:pt>
                <c:pt idx="11">
                  <c:v>0.68191840617284605</c:v>
                </c:pt>
                <c:pt idx="12">
                  <c:v>0.68771752365374228</c:v>
                </c:pt>
                <c:pt idx="13">
                  <c:v>0.69330897354355892</c:v>
                </c:pt>
                <c:pt idx="14">
                  <c:v>0.69870371455422642</c:v>
                </c:pt>
                <c:pt idx="15">
                  <c:v>0.70391194766478415</c:v>
                </c:pt>
                <c:pt idx="16">
                  <c:v>0.70894318049970717</c:v>
                </c:pt>
                <c:pt idx="17">
                  <c:v>0.7138062852532626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Quattro Four Blad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Van Der Hagen Men Double Edge Blade Refills 10 Pack (1.2%)</c:v>
                </c:pt>
                <c:pt idx="2">
                  <c:v>Schick Hydro 5 Blade Sensitive Refills 6 Pack (0.6%)</c:v>
                </c:pt>
                <c:pt idx="3">
                  <c:v>Schick Xtreme 2 Sensitive Disposable Razors 12 Pack (2.7%)</c:v>
                </c:pt>
                <c:pt idx="4">
                  <c:v>Schick Xtreme 5 Sensitive Disposable Razors 8 Pack (0.0%)</c:v>
                </c:pt>
                <c:pt idx="5">
                  <c:v>Schick Xtreme 2 Sensitive Disposable Razors 24 Pack (0.0%)</c:v>
                </c:pt>
                <c:pt idx="6">
                  <c:v>Schick Xtreme 5 Sensitive Disposable Razors 2 Pack (0.0%)</c:v>
                </c:pt>
                <c:pt idx="7">
                  <c:v>Schick Xtreme 5 Sensitive Disposable Razors 4 Pack (0.0%)</c:v>
                </c:pt>
                <c:pt idx="8">
                  <c:v>Schick Xtreme 3 Body &amp; Groin Disposable Razors 3 Pack (0.0%)</c:v>
                </c:pt>
                <c:pt idx="9">
                  <c:v>Schick Hydro 5 Ultimate Comfort Disposable Razors 3 Pack (0.0%)</c:v>
                </c:pt>
              </c:strCache>
            </c:strRef>
          </c:cat>
          <c:val>
            <c:numRef>
              <c:f>Sheet1!$B$2:$B$11</c:f>
              <c:numCache>
                <c:formatCode>General</c:formatCode>
                <c:ptCount val="10"/>
                <c:pt idx="0">
                  <c:v>1.0000000000467621</c:v>
                </c:pt>
                <c:pt idx="1">
                  <c:v>4.0596511021524909E-13</c:v>
                </c:pt>
                <c:pt idx="2">
                  <c:v>2.0298255510762454E-13</c:v>
                </c:pt>
                <c:pt idx="3">
                  <c:v>0</c:v>
                </c:pt>
                <c:pt idx="4">
                  <c:v>0</c:v>
                </c:pt>
                <c:pt idx="5">
                  <c:v>0</c:v>
                </c:pt>
                <c:pt idx="6">
                  <c:v>0</c:v>
                </c:pt>
                <c:pt idx="7">
                  <c:v>0</c:v>
                </c:pt>
                <c:pt idx="8">
                  <c:v>0</c:v>
                </c:pt>
                <c:pt idx="9">
                  <c:v>0</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Quattro Four Blad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Harry's Men Five Blade Refills 4 Pack (2.5%)</c:v>
                </c:pt>
                <c:pt idx="2">
                  <c:v>Gillette Fusion 5 Blade Refills 12 Pack (0.9%)</c:v>
                </c:pt>
                <c:pt idx="3">
                  <c:v>Gillette Mach 3 Blade Refills 4 Pack (1.3%)</c:v>
                </c:pt>
                <c:pt idx="4">
                  <c:v>Equate Easy Fit 5 Blade Refills 4 Pack (0.6%)</c:v>
                </c:pt>
                <c:pt idx="5">
                  <c:v>Dollar Shave Club 6 Blades Blade Refills 4 Pack (0.6%)</c:v>
                </c:pt>
                <c:pt idx="6">
                  <c:v>Schick Hydro 5 Blade Sensitive Refills 12 Pack (0.4%)</c:v>
                </c:pt>
                <c:pt idx="7">
                  <c:v>Schick Xtreme 2 Sensitive Disposable Razors 12 Pack (2.7%)</c:v>
                </c:pt>
                <c:pt idx="8">
                  <c:v>Schick Xtreme 3 Body &amp; Groin Disposable Razors 3 Pack (0.0%)</c:v>
                </c:pt>
                <c:pt idx="9">
                  <c:v>Schick Xtreme 2 Sensitive Disposable Razors 24 Pack (0.0%)</c:v>
                </c:pt>
              </c:strCache>
            </c:strRef>
          </c:cat>
          <c:val>
            <c:numRef>
              <c:f>Sheet1!$B$2:$B$11</c:f>
              <c:numCache>
                <c:formatCode>General</c:formatCode>
                <c:ptCount val="10"/>
                <c:pt idx="0">
                  <c:v>0.99999999999393285</c:v>
                </c:pt>
                <c:pt idx="1">
                  <c:v>1.0942542764054779E-13</c:v>
                </c:pt>
                <c:pt idx="2">
                  <c:v>5.4712713820273894E-14</c:v>
                </c:pt>
                <c:pt idx="3">
                  <c:v>5.4712713820273894E-14</c:v>
                </c:pt>
                <c:pt idx="4">
                  <c:v>2.7356356910136947E-14</c:v>
                </c:pt>
                <c:pt idx="5">
                  <c:v>2.7356356910136947E-14</c:v>
                </c:pt>
                <c:pt idx="6">
                  <c:v>1.3678178455068474E-14</c:v>
                </c:pt>
                <c:pt idx="7">
                  <c:v>0</c:v>
                </c:pt>
                <c:pt idx="8">
                  <c:v>0</c:v>
                </c:pt>
                <c:pt idx="9">
                  <c:v>0</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3 Blade Ingrown Defense Refills 6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2.57</c:v>
                </c:pt>
                <c:pt idx="1">
                  <c:v>13.47</c:v>
                </c:pt>
                <c:pt idx="2">
                  <c:v>14.97</c:v>
                </c:pt>
                <c:pt idx="3">
                  <c:v>15.97</c:v>
                </c:pt>
                <c:pt idx="4">
                  <c:v>18.57</c:v>
                </c:pt>
              </c:numCache>
            </c:numRef>
          </c:xVal>
          <c:yVal>
            <c:numRef>
              <c:f>Sheet1!$B$2:$B$6</c:f>
              <c:numCache>
                <c:formatCode>General</c:formatCode>
                <c:ptCount val="5"/>
                <c:pt idx="0">
                  <c:v>0.15309569431544134</c:v>
                </c:pt>
                <c:pt idx="1">
                  <c:v>9.3799049356410133E-2</c:v>
                </c:pt>
                <c:pt idx="2">
                  <c:v>0</c:v>
                </c:pt>
                <c:pt idx="3">
                  <c:v>-6.4432864336115753E-2</c:v>
                </c:pt>
                <c:pt idx="4">
                  <c:v>-0.2709169242739115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5 Blade Advanced Hydration Refills 6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2.57</c:v>
                </c:pt>
                <c:pt idx="1">
                  <c:v>13.47</c:v>
                </c:pt>
                <c:pt idx="2">
                  <c:v>14.97</c:v>
                </c:pt>
                <c:pt idx="3">
                  <c:v>15.97</c:v>
                </c:pt>
                <c:pt idx="4">
                  <c:v>18.57</c:v>
                </c:pt>
              </c:numCache>
            </c:numRef>
          </c:xVal>
          <c:yVal>
            <c:numRef>
              <c:f>Sheet1!$B$9:$B$13</c:f>
              <c:numCache>
                <c:formatCode>General</c:formatCode>
                <c:ptCount val="5"/>
                <c:pt idx="0">
                  <c:v>0.13970961196463527</c:v>
                </c:pt>
                <c:pt idx="1">
                  <c:v>8.2483874626146675E-2</c:v>
                </c:pt>
                <c:pt idx="2">
                  <c:v>0</c:v>
                </c:pt>
                <c:pt idx="3">
                  <c:v>-5.4879756782476301E-2</c:v>
                </c:pt>
                <c:pt idx="4">
                  <c:v>-0.24748426060357939</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Hydro 5 Blade Chrome Refills 6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2.57</c:v>
                </c:pt>
                <c:pt idx="1">
                  <c:v>13.47</c:v>
                </c:pt>
                <c:pt idx="2">
                  <c:v>14.97</c:v>
                </c:pt>
                <c:pt idx="3">
                  <c:v>15.97</c:v>
                </c:pt>
                <c:pt idx="4">
                  <c:v>18.57</c:v>
                </c:pt>
              </c:numCache>
            </c:numRef>
          </c:xVal>
          <c:yVal>
            <c:numRef>
              <c:f>Sheet1!$B$16:$B$20</c:f>
              <c:numCache>
                <c:formatCode>General</c:formatCode>
                <c:ptCount val="5"/>
                <c:pt idx="0">
                  <c:v>0.10900826648015328</c:v>
                </c:pt>
                <c:pt idx="1">
                  <c:v>6.1148770879385084E-2</c:v>
                </c:pt>
                <c:pt idx="2">
                  <c:v>0</c:v>
                </c:pt>
                <c:pt idx="3">
                  <c:v>-5.1111109999304107E-2</c:v>
                </c:pt>
                <c:pt idx="4">
                  <c:v>-0.1818674838093680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8.57"/>
          <c:min val="12.57"/>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B$2:$B$32</c:f>
              <c:numCache>
                <c:formatCode>General</c:formatCode>
                <c:ptCount val="31"/>
                <c:pt idx="0">
                  <c:v>115.19647295376654</c:v>
                </c:pt>
                <c:pt idx="1">
                  <c:v>113.8571267410309</c:v>
                </c:pt>
                <c:pt idx="2">
                  <c:v>112.53651192611525</c:v>
                </c:pt>
                <c:pt idx="3">
                  <c:v>111.23438107164938</c:v>
                </c:pt>
                <c:pt idx="4">
                  <c:v>109.95049009361375</c:v>
                </c:pt>
                <c:pt idx="5">
                  <c:v>108.65976940208246</c:v>
                </c:pt>
                <c:pt idx="6">
                  <c:v>107.36406151543446</c:v>
                </c:pt>
                <c:pt idx="7">
                  <c:v>106.08852083844809</c:v>
                </c:pt>
                <c:pt idx="8">
                  <c:v>104.83275939059091</c:v>
                </c:pt>
                <c:pt idx="9">
                  <c:v>103.59639626785093</c:v>
                </c:pt>
                <c:pt idx="10">
                  <c:v>102.37905796429241</c:v>
                </c:pt>
                <c:pt idx="11">
                  <c:v>101.180378589805</c:v>
                </c:pt>
                <c:pt idx="12">
                  <c:v>100</c:v>
                </c:pt>
                <c:pt idx="13">
                  <c:v>98.679729201426028</c:v>
                </c:pt>
                <c:pt idx="14">
                  <c:v>97.378798046171624</c:v>
                </c:pt>
                <c:pt idx="15">
                  <c:v>96.097152783032158</c:v>
                </c:pt>
                <c:pt idx="16">
                  <c:v>94.834721539777831</c:v>
                </c:pt>
                <c:pt idx="17">
                  <c:v>93.591414637280053</c:v>
                </c:pt>
                <c:pt idx="18">
                  <c:v>91.752289539191452</c:v>
                </c:pt>
                <c:pt idx="19">
                  <c:v>89.957103055310938</c:v>
                </c:pt>
                <c:pt idx="20">
                  <c:v>88.205733259198297</c:v>
                </c:pt>
                <c:pt idx="21">
                  <c:v>86.497954073397693</c:v>
                </c:pt>
                <c:pt idx="22">
                  <c:v>84.833440961305456</c:v>
                </c:pt>
                <c:pt idx="23">
                  <c:v>83.211777481967076</c:v>
                </c:pt>
                <c:pt idx="24">
                  <c:v>81.632462463183643</c:v>
                </c:pt>
                <c:pt idx="25">
                  <c:v>80.094917574372232</c:v>
                </c:pt>
                <c:pt idx="26">
                  <c:v>78.598495109413705</c:v>
                </c:pt>
                <c:pt idx="27">
                  <c:v>77.142485818904532</c:v>
                </c:pt>
                <c:pt idx="28">
                  <c:v>75.726126659186292</c:v>
                </c:pt>
                <c:pt idx="29">
                  <c:v>74.348608351164089</c:v>
                </c:pt>
                <c:pt idx="30">
                  <c:v>73.00908266472082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C$2:$C$32</c:f>
              <c:numCache>
                <c:formatCode>General</c:formatCode>
                <c:ptCount val="31"/>
                <c:pt idx="0">
                  <c:v>96.907522836348747</c:v>
                </c:pt>
                <c:pt idx="1">
                  <c:v>97.287822457157731</c:v>
                </c:pt>
                <c:pt idx="2">
                  <c:v>97.648772092658319</c:v>
                </c:pt>
                <c:pt idx="3">
                  <c:v>97.990911817375931</c:v>
                </c:pt>
                <c:pt idx="4">
                  <c:v>98.314770710208549</c:v>
                </c:pt>
                <c:pt idx="5">
                  <c:v>98.598331560962109</c:v>
                </c:pt>
                <c:pt idx="6">
                  <c:v>98.843041534226771</c:v>
                </c:pt>
                <c:pt idx="7">
                  <c:v>99.072213063957278</c:v>
                </c:pt>
                <c:pt idx="8">
                  <c:v>99.286288805658558</c:v>
                </c:pt>
                <c:pt idx="9">
                  <c:v>99.485697023262588</c:v>
                </c:pt>
                <c:pt idx="10">
                  <c:v>99.670852410727477</c:v>
                </c:pt>
                <c:pt idx="11">
                  <c:v>99.84215683401419</c:v>
                </c:pt>
                <c:pt idx="12">
                  <c:v>100</c:v>
                </c:pt>
                <c:pt idx="13">
                  <c:v>99.984950976952945</c:v>
                </c:pt>
                <c:pt idx="14">
                  <c:v>99.954823228915714</c:v>
                </c:pt>
                <c:pt idx="15">
                  <c:v>99.910333691466462</c:v>
                </c:pt>
                <c:pt idx="16">
                  <c:v>99.852176767171258</c:v>
                </c:pt>
                <c:pt idx="17">
                  <c:v>99.781023508396046</c:v>
                </c:pt>
                <c:pt idx="18">
                  <c:v>99.034192583804938</c:v>
                </c:pt>
                <c:pt idx="19">
                  <c:v>98.28686198504073</c:v>
                </c:pt>
                <c:pt idx="20">
                  <c:v>97.540630526696631</c:v>
                </c:pt>
                <c:pt idx="21">
                  <c:v>96.796974030941215</c:v>
                </c:pt>
                <c:pt idx="22">
                  <c:v>96.057244984515464</c:v>
                </c:pt>
                <c:pt idx="23">
                  <c:v>95.322673620864222</c:v>
                </c:pt>
                <c:pt idx="24">
                  <c:v>94.594370224576366</c:v>
                </c:pt>
                <c:pt idx="25">
                  <c:v>93.873328460188162</c:v>
                </c:pt>
                <c:pt idx="26">
                  <c:v>93.160429538546168</c:v>
                </c:pt>
                <c:pt idx="27">
                  <c:v>92.456447048904408</c:v>
                </c:pt>
                <c:pt idx="28">
                  <c:v>91.762052301842431</c:v>
                </c:pt>
                <c:pt idx="29">
                  <c:v>91.077820045452413</c:v>
                </c:pt>
                <c:pt idx="30">
                  <c:v>90.4042344341060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D$2:$D$32</c:f>
              <c:numCache>
                <c:formatCode>General</c:formatCode>
                <c:ptCount val="31"/>
                <c:pt idx="0">
                  <c:v>89.204823471664284</c:v>
                </c:pt>
                <c:pt idx="1">
                  <c:v>90.309703789140528</c:v>
                </c:pt>
                <c:pt idx="2">
                  <c:v>91.379156978262458</c:v>
                </c:pt>
                <c:pt idx="3">
                  <c:v>92.414049705497717</c:v>
                </c:pt>
                <c:pt idx="4">
                  <c:v>93.415232126836628</c:v>
                </c:pt>
                <c:pt idx="5">
                  <c:v>94.361946207503962</c:v>
                </c:pt>
                <c:pt idx="6">
                  <c:v>95.255464278498877</c:v>
                </c:pt>
                <c:pt idx="7">
                  <c:v>96.118341494988968</c:v>
                </c:pt>
                <c:pt idx="8">
                  <c:v>96.951368577981214</c:v>
                </c:pt>
                <c:pt idx="9">
                  <c:v>97.755313082155141</c:v>
                </c:pt>
                <c:pt idx="10">
                  <c:v>98.530920410167127</c:v>
                </c:pt>
                <c:pt idx="11">
                  <c:v>99.278914758889286</c:v>
                </c:pt>
                <c:pt idx="12">
                  <c:v>100</c:v>
                </c:pt>
                <c:pt idx="13">
                  <c:v>100.5337017570268</c:v>
                </c:pt>
                <c:pt idx="14">
                  <c:v>101.03769821408666</c:v>
                </c:pt>
                <c:pt idx="15">
                  <c:v>101.51303366917492</c:v>
                </c:pt>
                <c:pt idx="16">
                  <c:v>101.9607283387474</c:v>
                </c:pt>
                <c:pt idx="17">
                  <c:v>102.38177701852209</c:v>
                </c:pt>
                <c:pt idx="18">
                  <c:v>102.09119534740803</c:v>
                </c:pt>
                <c:pt idx="19">
                  <c:v>101.78121544495011</c:v>
                </c:pt>
                <c:pt idx="20">
                  <c:v>101.45418431963631</c:v>
                </c:pt>
                <c:pt idx="21">
                  <c:v>101.11231686581441</c:v>
                </c:pt>
                <c:pt idx="22">
                  <c:v>100.7576929035058</c:v>
                </c:pt>
                <c:pt idx="23">
                  <c:v>100.39225590406792</c:v>
                </c:pt>
                <c:pt idx="24">
                  <c:v>100.01781321449283</c:v>
                </c:pt>
                <c:pt idx="25">
                  <c:v>99.636037588852417</c:v>
                </c:pt>
                <c:pt idx="26">
                  <c:v>99.248469838978153</c:v>
                </c:pt>
                <c:pt idx="27">
                  <c:v>98.856522425427841</c:v>
                </c:pt>
                <c:pt idx="28">
                  <c:v>98.461483822088809</c:v>
                </c:pt>
                <c:pt idx="29">
                  <c:v>98.064523501740041</c:v>
                </c:pt>
                <c:pt idx="30">
                  <c:v>97.66669740439516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E$2:$E$32</c:f>
              <c:numCache>
                <c:formatCode>General</c:formatCode>
                <c:ptCount val="31"/>
                <c:pt idx="0">
                  <c:v>0.65244638765699281</c:v>
                </c:pt>
                <c:pt idx="1">
                  <c:v>0.65788967054411907</c:v>
                </c:pt>
                <c:pt idx="2">
                  <c:v>0.66316508040465694</c:v>
                </c:pt>
                <c:pt idx="3">
                  <c:v>0.66828026521248296</c:v>
                </c:pt>
                <c:pt idx="4">
                  <c:v>0.67324241532149598</c:v>
                </c:pt>
                <c:pt idx="5">
                  <c:v>0.6780582971885335</c:v>
                </c:pt>
                <c:pt idx="6">
                  <c:v>0.68273428415747273</c:v>
                </c:pt>
                <c:pt idx="7">
                  <c:v>0.68727638459902651</c:v>
                </c:pt>
                <c:pt idx="8">
                  <c:v>0.69169026766749475</c:v>
                </c:pt>
                <c:pt idx="9">
                  <c:v>0.69598128690663874</c:v>
                </c:pt>
                <c:pt idx="10">
                  <c:v>0.70015450191135209</c:v>
                </c:pt>
                <c:pt idx="11">
                  <c:v>0.70421469822941107</c:v>
                </c:pt>
                <c:pt idx="12">
                  <c:v>0.70816640566789579</c:v>
                </c:pt>
                <c:pt idx="13">
                  <c:v>0.71201391515150958</c:v>
                </c:pt>
                <c:pt idx="14">
                  <c:v>0.71576129426469748</c:v>
                </c:pt>
                <c:pt idx="15">
                  <c:v>0.71941240159591535</c:v>
                </c:pt>
                <c:pt idx="16">
                  <c:v>0.72297089999038688</c:v>
                </c:pt>
                <c:pt idx="17">
                  <c:v>0.72644026880703827</c:v>
                </c:pt>
                <c:pt idx="18">
                  <c:v>0.72982381526582563</c:v>
                </c:pt>
                <c:pt idx="19">
                  <c:v>0.7331246849632499</c:v>
                </c:pt>
                <c:pt idx="20">
                  <c:v>0.73634587162633669</c:v>
                </c:pt>
                <c:pt idx="21">
                  <c:v>0.73949022616865834</c:v>
                </c:pt>
                <c:pt idx="22">
                  <c:v>0.74256046510597529</c:v>
                </c:pt>
                <c:pt idx="23">
                  <c:v>0.74555917838371577</c:v>
                </c:pt>
                <c:pt idx="24">
                  <c:v>0.74848883666369614</c:v>
                </c:pt>
                <c:pt idx="25">
                  <c:v>0.75135179811317021</c:v>
                </c:pt>
                <c:pt idx="26">
                  <c:v>0.75415031473541927</c:v>
                </c:pt>
                <c:pt idx="27">
                  <c:v>0.756886538277596</c:v>
                </c:pt>
                <c:pt idx="28">
                  <c:v>0.75956252574839844</c:v>
                </c:pt>
                <c:pt idx="29">
                  <c:v>0.76218024457530764</c:v>
                </c:pt>
                <c:pt idx="30">
                  <c:v>0.7647415774285621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3 Blade Ingrown Defens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55970420029681989</c:v>
                </c:pt>
                <c:pt idx="1">
                  <c:v>0.30612613371486996</c:v>
                </c:pt>
                <c:pt idx="2">
                  <c:v>7.0916976283046523E-2</c:v>
                </c:pt>
                <c:pt idx="3">
                  <c:v>6.2859271453337681E-2</c:v>
                </c:pt>
                <c:pt idx="4">
                  <c:v>7.255605388262347E-4</c:v>
                </c:pt>
                <c:pt idx="5">
                  <c:v>6.4094874224585247E-4</c:v>
                </c:pt>
                <c:pt idx="6">
                  <c:v>4.0671245840773846E-4</c:v>
                </c:pt>
                <c:pt idx="7">
                  <c:v>3.5029759852492934E-4</c:v>
                </c:pt>
                <c:pt idx="8">
                  <c:v>3.380660383615619E-4</c:v>
                </c:pt>
                <c:pt idx="9">
                  <c:v>2.7896024674850496E-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3 Blade Ingrown Defens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3 Blade Ultra Sensitive Refills 5 Pack (0.0%)</c:v>
                </c:pt>
                <c:pt idx="3">
                  <c:v>Schick Hydro 5 Blade Sensitive Refills 12 Pack (0.4%)</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46195321476447637</c:v>
                </c:pt>
                <c:pt idx="1">
                  <c:v>0.38505125392415857</c:v>
                </c:pt>
                <c:pt idx="2">
                  <c:v>8.4750374461811481E-2</c:v>
                </c:pt>
                <c:pt idx="3">
                  <c:v>6.7924508000789238E-2</c:v>
                </c:pt>
                <c:pt idx="4">
                  <c:v>5.9133211647713639E-4</c:v>
                </c:pt>
                <c:pt idx="5">
                  <c:v>5.2231571829108273E-4</c:v>
                </c:pt>
                <c:pt idx="6">
                  <c:v>3.3145175692645583E-4</c:v>
                </c:pt>
                <c:pt idx="7">
                  <c:v>2.8546382450306463E-4</c:v>
                </c:pt>
                <c:pt idx="8">
                  <c:v>2.7549888830857638E-4</c:v>
                </c:pt>
                <c:pt idx="9">
                  <c:v>2.2736495366461402E-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ollar Shave Club (2.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 (38.7%)</c:v>
                </c:pt>
                <c:pt idx="1">
                  <c:v>Equate (21.7%)</c:v>
                </c:pt>
                <c:pt idx="2">
                  <c:v>Harrys (11.2%)</c:v>
                </c:pt>
                <c:pt idx="3">
                  <c:v>Bic (16.9%)</c:v>
                </c:pt>
                <c:pt idx="4">
                  <c:v>Schick (11.2%)</c:v>
                </c:pt>
                <c:pt idx="5">
                  <c:v>Van Der Hagen (2.0%)</c:v>
                </c:pt>
              </c:strCache>
            </c:strRef>
          </c:cat>
          <c:val>
            <c:numRef>
              <c:f>Sheet1!$B$2:$B$7</c:f>
              <c:numCache>
                <c:formatCode>General</c:formatCode>
                <c:ptCount val="6"/>
                <c:pt idx="0">
                  <c:v>0.17829418364610983</c:v>
                </c:pt>
                <c:pt idx="1">
                  <c:v>0.17321899474725616</c:v>
                </c:pt>
                <c:pt idx="2">
                  <c:v>0.17176393183345467</c:v>
                </c:pt>
                <c:pt idx="3">
                  <c:v>0.15946008053288507</c:v>
                </c:pt>
                <c:pt idx="4">
                  <c:v>6.7089036958761422E-2</c:v>
                </c:pt>
                <c:pt idx="5">
                  <c:v>4.8837515280834368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B$2:$B$32</c:f>
              <c:numCache>
                <c:formatCode>General</c:formatCode>
                <c:ptCount val="31"/>
                <c:pt idx="0">
                  <c:v>113.87260254417357</c:v>
                </c:pt>
                <c:pt idx="1">
                  <c:v>112.57473673675263</c:v>
                </c:pt>
                <c:pt idx="2">
                  <c:v>111.29775679150791</c:v>
                </c:pt>
                <c:pt idx="3">
                  <c:v>110.0413242808213</c:v>
                </c:pt>
                <c:pt idx="4">
                  <c:v>108.80510230646341</c:v>
                </c:pt>
                <c:pt idx="5">
                  <c:v>107.61571707348428</c:v>
                </c:pt>
                <c:pt idx="6">
                  <c:v>106.47280271353941</c:v>
                </c:pt>
                <c:pt idx="7">
                  <c:v>105.34894968784099</c:v>
                </c:pt>
                <c:pt idx="8">
                  <c:v>104.24370473831334</c:v>
                </c:pt>
                <c:pt idx="9">
                  <c:v>103.15662143110518</c:v>
                </c:pt>
                <c:pt idx="10">
                  <c:v>102.08726120420178</c:v>
                </c:pt>
                <c:pt idx="11">
                  <c:v>101.03519421356579</c:v>
                </c:pt>
                <c:pt idx="12">
                  <c:v>100</c:v>
                </c:pt>
                <c:pt idx="13">
                  <c:v>98.872060862640438</c:v>
                </c:pt>
                <c:pt idx="14">
                  <c:v>97.762506175867628</c:v>
                </c:pt>
                <c:pt idx="15">
                  <c:v>96.671101681126203</c:v>
                </c:pt>
                <c:pt idx="16">
                  <c:v>95.597605291696979</c:v>
                </c:pt>
                <c:pt idx="17">
                  <c:v>94.541768049943798</c:v>
                </c:pt>
                <c:pt idx="18">
                  <c:v>92.795105501887306</c:v>
                </c:pt>
                <c:pt idx="19">
                  <c:v>91.097412239638743</c:v>
                </c:pt>
                <c:pt idx="20">
                  <c:v>89.447686899393247</c:v>
                </c:pt>
                <c:pt idx="21">
                  <c:v>87.844872777522781</c:v>
                </c:pt>
                <c:pt idx="22">
                  <c:v>86.287868733632138</c:v>
                </c:pt>
                <c:pt idx="23">
                  <c:v>84.775539163758438</c:v>
                </c:pt>
                <c:pt idx="24">
                  <c:v>83.306723039955997</c:v>
                </c:pt>
                <c:pt idx="25">
                  <c:v>81.880242034098828</c:v>
                </c:pt>
                <c:pt idx="26">
                  <c:v>80.494907760055085</c:v>
                </c:pt>
                <c:pt idx="27">
                  <c:v>79.149528179994121</c:v>
                </c:pt>
                <c:pt idx="28">
                  <c:v>77.842913228139039</c:v>
                </c:pt>
                <c:pt idx="29">
                  <c:v>76.573879709557218</c:v>
                </c:pt>
                <c:pt idx="30">
                  <c:v>75.34125553324842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C$2:$C$32</c:f>
              <c:numCache>
                <c:formatCode>General</c:formatCode>
                <c:ptCount val="31"/>
                <c:pt idx="0">
                  <c:v>95.830555234326383</c:v>
                </c:pt>
                <c:pt idx="1">
                  <c:v>96.225257894123374</c:v>
                </c:pt>
                <c:pt idx="2">
                  <c:v>96.603620011312074</c:v>
                </c:pt>
                <c:pt idx="3">
                  <c:v>96.966186868739754</c:v>
                </c:pt>
                <c:pt idx="4">
                  <c:v>97.313486192717875</c:v>
                </c:pt>
                <c:pt idx="5">
                  <c:v>97.670747816224079</c:v>
                </c:pt>
                <c:pt idx="6">
                  <c:v>98.039484779379322</c:v>
                </c:pt>
                <c:pt idx="7">
                  <c:v>98.395693595424206</c:v>
                </c:pt>
                <c:pt idx="8">
                  <c:v>98.739710972629794</c:v>
                </c:pt>
                <c:pt idx="9">
                  <c:v>99.071855583365405</c:v>
                </c:pt>
                <c:pt idx="10">
                  <c:v>99.392429579903947</c:v>
                </c:pt>
                <c:pt idx="11">
                  <c:v>99.701719990550515</c:v>
                </c:pt>
                <c:pt idx="12">
                  <c:v>100</c:v>
                </c:pt>
                <c:pt idx="13">
                  <c:v>100.1769884028529</c:v>
                </c:pt>
                <c:pt idx="14">
                  <c:v>100.34300673506296</c:v>
                </c:pt>
                <c:pt idx="15">
                  <c:v>100.49854641197729</c:v>
                </c:pt>
                <c:pt idx="16">
                  <c:v>100.64407768167708</c:v>
                </c:pt>
                <c:pt idx="17">
                  <c:v>100.78005016898651</c:v>
                </c:pt>
                <c:pt idx="18">
                  <c:v>100.14278012461418</c:v>
                </c:pt>
                <c:pt idx="19">
                  <c:v>99.513051557716466</c:v>
                </c:pt>
                <c:pt idx="20">
                  <c:v>98.891684504266692</c:v>
                </c:pt>
                <c:pt idx="21">
                  <c:v>98.27938463586915</c:v>
                </c:pt>
                <c:pt idx="22">
                  <c:v>97.676752002135402</c:v>
                </c:pt>
                <c:pt idx="23">
                  <c:v>97.084289556679821</c:v>
                </c:pt>
                <c:pt idx="24">
                  <c:v>96.502411378699932</c:v>
                </c:pt>
                <c:pt idx="25">
                  <c:v>95.931450526805421</c:v>
                </c:pt>
                <c:pt idx="26">
                  <c:v>95.371666482771914</c:v>
                </c:pt>
                <c:pt idx="27">
                  <c:v>94.823252160201378</c:v>
                </c:pt>
                <c:pt idx="28">
                  <c:v>94.286340466843441</c:v>
                </c:pt>
                <c:pt idx="29">
                  <c:v>93.761010420017584</c:v>
                </c:pt>
                <c:pt idx="30">
                  <c:v>93.2472928225412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D$2:$D$32</c:f>
              <c:numCache>
                <c:formatCode>General</c:formatCode>
                <c:ptCount val="31"/>
                <c:pt idx="0">
                  <c:v>87.919828659786674</c:v>
                </c:pt>
                <c:pt idx="1">
                  <c:v>89.056484200234991</c:v>
                </c:pt>
                <c:pt idx="2">
                  <c:v>90.1605276523198</c:v>
                </c:pt>
                <c:pt idx="3">
                  <c:v>91.232882949069719</c:v>
                </c:pt>
                <c:pt idx="4">
                  <c:v>92.27444884992957</c:v>
                </c:pt>
                <c:pt idx="5">
                  <c:v>93.309758600633771</c:v>
                </c:pt>
                <c:pt idx="6">
                  <c:v>94.341186380808921</c:v>
                </c:pt>
                <c:pt idx="7">
                  <c:v>95.346306727667724</c:v>
                </c:pt>
                <c:pt idx="8">
                  <c:v>96.325795890311113</c:v>
                </c:pt>
                <c:pt idx="9">
                  <c:v>97.28030152280671</c:v>
                </c:pt>
                <c:pt idx="10">
                  <c:v>98.210444385151902</c:v>
                </c:pt>
                <c:pt idx="11">
                  <c:v>99.116819962760559</c:v>
                </c:pt>
                <c:pt idx="12">
                  <c:v>100</c:v>
                </c:pt>
                <c:pt idx="13">
                  <c:v>100.74882408788535</c:v>
                </c:pt>
                <c:pt idx="14">
                  <c:v>101.47378029479522</c:v>
                </c:pt>
                <c:pt idx="15">
                  <c:v>102.17567637679394</c:v>
                </c:pt>
                <c:pt idx="16">
                  <c:v>102.85529342301032</c:v>
                </c:pt>
                <c:pt idx="17">
                  <c:v>103.51338618207504</c:v>
                </c:pt>
                <c:pt idx="18">
                  <c:v>103.35982845513074</c:v>
                </c:pt>
                <c:pt idx="19">
                  <c:v>103.19547471605929</c:v>
                </c:pt>
                <c:pt idx="20">
                  <c:v>103.02196466584093</c:v>
                </c:pt>
                <c:pt idx="21">
                  <c:v>102.84079627612471</c:v>
                </c:pt>
                <c:pt idx="22">
                  <c:v>102.65333361275641</c:v>
                </c:pt>
                <c:pt idx="23">
                  <c:v>102.46081476953061</c:v>
                </c:pt>
                <c:pt idx="24">
                  <c:v>102.26435978395109</c:v>
                </c:pt>
                <c:pt idx="25">
                  <c:v>102.0649784332748</c:v>
                </c:pt>
                <c:pt idx="26">
                  <c:v>101.86357783258819</c:v>
                </c:pt>
                <c:pt idx="27">
                  <c:v>101.66096977685295</c:v>
                </c:pt>
                <c:pt idx="28">
                  <c:v>101.45787778570734</c:v>
                </c:pt>
                <c:pt idx="29">
                  <c:v>101.25494382361306</c:v>
                </c:pt>
                <c:pt idx="30">
                  <c:v>101.0527346789441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E$2:$E$32</c:f>
              <c:numCache>
                <c:formatCode>General</c:formatCode>
                <c:ptCount val="31"/>
                <c:pt idx="0">
                  <c:v>0.64437129967817697</c:v>
                </c:pt>
                <c:pt idx="1">
                  <c:v>0.64994105222824483</c:v>
                </c:pt>
                <c:pt idx="2">
                  <c:v>0.65533903137661431</c:v>
                </c:pt>
                <c:pt idx="3">
                  <c:v>0.66057306279078865</c:v>
                </c:pt>
                <c:pt idx="4">
                  <c:v>0.66565050388591518</c:v>
                </c:pt>
                <c:pt idx="5">
                  <c:v>0.6705782783312223</c:v>
                </c:pt>
                <c:pt idx="6">
                  <c:v>0.67536290754936001</c:v>
                </c:pt>
                <c:pt idx="7">
                  <c:v>0.68001053950999901</c:v>
                </c:pt>
                <c:pt idx="8">
                  <c:v>0.6845269750850167</c:v>
                </c:pt>
                <c:pt idx="9">
                  <c:v>0.6889176922028315</c:v>
                </c:pt>
                <c:pt idx="10">
                  <c:v>0.69318786801336219</c:v>
                </c:pt>
                <c:pt idx="11">
                  <c:v>0.69734239925217922</c:v>
                </c:pt>
                <c:pt idx="12">
                  <c:v>0.70138592097225705</c:v>
                </c:pt>
                <c:pt idx="13">
                  <c:v>0.70532282379398059</c:v>
                </c:pt>
                <c:pt idx="14">
                  <c:v>0.70915726980837257</c:v>
                </c:pt>
                <c:pt idx="15">
                  <c:v>0.71289320725463623</c:v>
                </c:pt>
                <c:pt idx="16">
                  <c:v>0.71653438408082981</c:v>
                </c:pt>
                <c:pt idx="17">
                  <c:v>0.72008436048557845</c:v>
                </c:pt>
                <c:pt idx="18">
                  <c:v>0.72354652052904667</c:v>
                </c:pt>
                <c:pt idx="19">
                  <c:v>0.72692408289277266</c:v>
                </c:pt>
                <c:pt idx="20">
                  <c:v>0.73022011086027072</c:v>
                </c:pt>
                <c:pt idx="21">
                  <c:v>0.73343752158346376</c:v>
                </c:pt>
                <c:pt idx="22">
                  <c:v>0.73657909469385319</c:v>
                </c:pt>
                <c:pt idx="23">
                  <c:v>0.73964748031186311</c:v>
                </c:pt>
                <c:pt idx="24">
                  <c:v>0.74264520650286048</c:v>
                </c:pt>
                <c:pt idx="25">
                  <c:v>0.74557468622394352</c:v>
                </c:pt>
                <c:pt idx="26">
                  <c:v>0.74843822380161429</c:v>
                </c:pt>
                <c:pt idx="27">
                  <c:v>0.75123802097688841</c:v>
                </c:pt>
                <c:pt idx="28">
                  <c:v>0.75397618255116616</c:v>
                </c:pt>
                <c:pt idx="29">
                  <c:v>0.75665472166329273</c:v>
                </c:pt>
                <c:pt idx="30">
                  <c:v>0.7592755647256158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Advanced Hydration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Refills 6 Pack (0.6%)</c:v>
                </c:pt>
                <c:pt idx="1">
                  <c:v>None Blades (83.2%)</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41622041493870399</c:v>
                </c:pt>
                <c:pt idx="1">
                  <c:v>0.40559685089382602</c:v>
                </c:pt>
                <c:pt idx="2">
                  <c:v>0.13165985194946175</c:v>
                </c:pt>
                <c:pt idx="3">
                  <c:v>4.6152626982699695E-2</c:v>
                </c:pt>
                <c:pt idx="4">
                  <c:v>6.8284221031637924E-4</c:v>
                </c:pt>
                <c:pt idx="5">
                  <c:v>6.0321204425297238E-4</c:v>
                </c:pt>
                <c:pt idx="6">
                  <c:v>3.8276672889574025E-4</c:v>
                </c:pt>
                <c:pt idx="7">
                  <c:v>3.29673367893245E-4</c:v>
                </c:pt>
                <c:pt idx="8">
                  <c:v>3.1816195687979151E-4</c:v>
                </c:pt>
                <c:pt idx="9">
                  <c:v>2.6253609628261676E-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Advanced Hydration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Refills 6 Pack (0.6%)</c:v>
                </c:pt>
                <c:pt idx="1">
                  <c:v>None Blades (83.2%)</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49010606202271823</c:v>
                </c:pt>
                <c:pt idx="1">
                  <c:v>0.32752988217246576</c:v>
                </c:pt>
                <c:pt idx="2">
                  <c:v>0.12441720074345515</c:v>
                </c:pt>
                <c:pt idx="3">
                  <c:v>5.7654364006049556E-2</c:v>
                </c:pt>
                <c:pt idx="4">
                  <c:v>5.3940426017908168E-4</c:v>
                </c:pt>
                <c:pt idx="5">
                  <c:v>4.7644854009143011E-4</c:v>
                </c:pt>
                <c:pt idx="6">
                  <c:v>3.0234530604407721E-4</c:v>
                </c:pt>
                <c:pt idx="7">
                  <c:v>2.6039580596654498E-4</c:v>
                </c:pt>
                <c:pt idx="8">
                  <c:v>2.5130594109037008E-4</c:v>
                </c:pt>
                <c:pt idx="9">
                  <c:v>2.0739889007339956E-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B$2:$B$32</c:f>
              <c:numCache>
                <c:formatCode>General</c:formatCode>
                <c:ptCount val="31"/>
                <c:pt idx="0">
                  <c:v>110.79668796004007</c:v>
                </c:pt>
                <c:pt idx="1">
                  <c:v>109.71883907107281</c:v>
                </c:pt>
                <c:pt idx="2">
                  <c:v>108.65580379028526</c:v>
                </c:pt>
                <c:pt idx="3">
                  <c:v>107.60731177432505</c:v>
                </c:pt>
                <c:pt idx="4">
                  <c:v>106.5730982543523</c:v>
                </c:pt>
                <c:pt idx="5">
                  <c:v>105.63930817840739</c:v>
                </c:pt>
                <c:pt idx="6">
                  <c:v>104.80338702152967</c:v>
                </c:pt>
                <c:pt idx="7">
                  <c:v>103.97792895584563</c:v>
                </c:pt>
                <c:pt idx="8">
                  <c:v>103.1627097028295</c:v>
                </c:pt>
                <c:pt idx="9">
                  <c:v>102.35751272812759</c:v>
                </c:pt>
                <c:pt idx="10">
                  <c:v>101.56212894098546</c:v>
                </c:pt>
                <c:pt idx="11">
                  <c:v>100.77635639613918</c:v>
                </c:pt>
                <c:pt idx="12">
                  <c:v>100</c:v>
                </c:pt>
                <c:pt idx="13">
                  <c:v>98.962847996922747</c:v>
                </c:pt>
                <c:pt idx="14">
                  <c:v>97.937453973993939</c:v>
                </c:pt>
                <c:pt idx="15">
                  <c:v>96.92368629303121</c:v>
                </c:pt>
                <c:pt idx="16">
                  <c:v>95.921414573095603</c:v>
                </c:pt>
                <c:pt idx="17">
                  <c:v>94.930509833936554</c:v>
                </c:pt>
                <c:pt idx="18">
                  <c:v>93.776907814530304</c:v>
                </c:pt>
                <c:pt idx="19">
                  <c:v>92.65130156883518</c:v>
                </c:pt>
                <c:pt idx="20">
                  <c:v>91.552988958871921</c:v>
                </c:pt>
                <c:pt idx="21">
                  <c:v>90.481270459572784</c:v>
                </c:pt>
                <c:pt idx="22">
                  <c:v>89.435450424818768</c:v>
                </c:pt>
                <c:pt idx="23">
                  <c:v>88.414838234472597</c:v>
                </c:pt>
                <c:pt idx="24">
                  <c:v>87.418749347261752</c:v>
                </c:pt>
                <c:pt idx="25">
                  <c:v>86.446506277349528</c:v>
                </c:pt>
                <c:pt idx="26">
                  <c:v>85.497439506481427</c:v>
                </c:pt>
                <c:pt idx="27">
                  <c:v>84.570888338770871</c:v>
                </c:pt>
                <c:pt idx="28">
                  <c:v>83.666201701493492</c:v>
                </c:pt>
                <c:pt idx="29">
                  <c:v>82.782738892622717</c:v>
                </c:pt>
                <c:pt idx="30">
                  <c:v>81.91987027411057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C$2:$C$32</c:f>
              <c:numCache>
                <c:formatCode>General</c:formatCode>
                <c:ptCount val="31"/>
                <c:pt idx="0">
                  <c:v>93.257158463233907</c:v>
                </c:pt>
                <c:pt idx="1">
                  <c:v>93.798216853070969</c:v>
                </c:pt>
                <c:pt idx="2">
                  <c:v>94.3234265854488</c:v>
                </c:pt>
                <c:pt idx="3">
                  <c:v>94.833153162169481</c:v>
                </c:pt>
                <c:pt idx="4">
                  <c:v>95.327751924106963</c:v>
                </c:pt>
                <c:pt idx="5">
                  <c:v>95.886368436081</c:v>
                </c:pt>
                <c:pt idx="6">
                  <c:v>96.51059234737707</c:v>
                </c:pt>
                <c:pt idx="7">
                  <c:v>97.122279372581204</c:v>
                </c:pt>
                <c:pt idx="8">
                  <c:v>97.72164396427921</c:v>
                </c:pt>
                <c:pt idx="9">
                  <c:v>98.308895662417456</c:v>
                </c:pt>
                <c:pt idx="10">
                  <c:v>98.884239334816456</c:v>
                </c:pt>
                <c:pt idx="11">
                  <c:v>99.447875395072316</c:v>
                </c:pt>
                <c:pt idx="12">
                  <c:v>100</c:v>
                </c:pt>
                <c:pt idx="13">
                  <c:v>100.2669368189909</c:v>
                </c:pt>
                <c:pt idx="14">
                  <c:v>100.51849709904886</c:v>
                </c:pt>
                <c:pt idx="15">
                  <c:v>100.75501985828659</c:v>
                </c:pt>
                <c:pt idx="16">
                  <c:v>100.97683789459428</c:v>
                </c:pt>
                <c:pt idx="17">
                  <c:v>101.18427804756527</c:v>
                </c:pt>
                <c:pt idx="18">
                  <c:v>101.19041644595103</c:v>
                </c:pt>
                <c:pt idx="19">
                  <c:v>101.19671330214068</c:v>
                </c:pt>
                <c:pt idx="20">
                  <c:v>101.20349947268075</c:v>
                </c:pt>
                <c:pt idx="21">
                  <c:v>101.21107156192228</c:v>
                </c:pt>
                <c:pt idx="22">
                  <c:v>101.21969355910012</c:v>
                </c:pt>
                <c:pt idx="23">
                  <c:v>101.22959843568489</c:v>
                </c:pt>
                <c:pt idx="24">
                  <c:v>101.24098972110586</c:v>
                </c:pt>
                <c:pt idx="25">
                  <c:v>101.25404306931291</c:v>
                </c:pt>
                <c:pt idx="26">
                  <c:v>101.26890782345119</c:v>
                </c:pt>
                <c:pt idx="27">
                  <c:v>101.28570858138532</c:v>
                </c:pt>
                <c:pt idx="28">
                  <c:v>101.30454676106304</c:v>
                </c:pt>
                <c:pt idx="29">
                  <c:v>101.32550216183174</c:v>
                </c:pt>
                <c:pt idx="30">
                  <c:v>101.3486345157473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D$2:$D$32</c:f>
              <c:numCache>
                <c:formatCode>General</c:formatCode>
                <c:ptCount val="31"/>
                <c:pt idx="0">
                  <c:v>88.168785719559835</c:v>
                </c:pt>
                <c:pt idx="1">
                  <c:v>89.178140631751617</c:v>
                </c:pt>
                <c:pt idx="2">
                  <c:v>90.162872325314808</c:v>
                </c:pt>
                <c:pt idx="3">
                  <c:v>91.123520243863098</c:v>
                </c:pt>
                <c:pt idx="4">
                  <c:v>92.060609696536929</c:v>
                </c:pt>
                <c:pt idx="5">
                  <c:v>93.051799323797709</c:v>
                </c:pt>
                <c:pt idx="6">
                  <c:v>94.099936169934679</c:v>
                </c:pt>
                <c:pt idx="7">
                  <c:v>95.129021060002771</c:v>
                </c:pt>
                <c:pt idx="8">
                  <c:v>96.139385773857839</c:v>
                </c:pt>
                <c:pt idx="9">
                  <c:v>97.131353911598481</c:v>
                </c:pt>
                <c:pt idx="10">
                  <c:v>98.10524127592744</c:v>
                </c:pt>
                <c:pt idx="11">
                  <c:v>99.061356225291846</c:v>
                </c:pt>
                <c:pt idx="12">
                  <c:v>100</c:v>
                </c:pt>
                <c:pt idx="13">
                  <c:v>100.64426370466894</c:v>
                </c:pt>
                <c:pt idx="14">
                  <c:v>101.26523311595454</c:v>
                </c:pt>
                <c:pt idx="15">
                  <c:v>101.86337906247694</c:v>
                </c:pt>
                <c:pt idx="16">
                  <c:v>102.43916444475613</c:v>
                </c:pt>
                <c:pt idx="17">
                  <c:v>102.99304450849871</c:v>
                </c:pt>
                <c:pt idx="18">
                  <c:v>103.33491661809215</c:v>
                </c:pt>
                <c:pt idx="19">
                  <c:v>103.6688253525684</c:v>
                </c:pt>
                <c:pt idx="20">
                  <c:v>103.99540617621115</c:v>
                </c:pt>
                <c:pt idx="21">
                  <c:v>104.31524938627001</c:v>
                </c:pt>
                <c:pt idx="22">
                  <c:v>104.62890184911238</c:v>
                </c:pt>
                <c:pt idx="23">
                  <c:v>104.93686872211356</c:v>
                </c:pt>
                <c:pt idx="24">
                  <c:v>105.23961517718547</c:v>
                </c:pt>
                <c:pt idx="25">
                  <c:v>105.5375681366512</c:v>
                </c:pt>
                <c:pt idx="26">
                  <c:v>105.83111802721557</c:v>
                </c:pt>
                <c:pt idx="27">
                  <c:v>106.12062055333875</c:v>
                </c:pt>
                <c:pt idx="28">
                  <c:v>106.40639848756726</c:v>
                </c:pt>
                <c:pt idx="29">
                  <c:v>106.68874347242982</c:v>
                </c:pt>
                <c:pt idx="30">
                  <c:v>106.9679178263396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E$2:$E$32</c:f>
              <c:numCache>
                <c:formatCode>General</c:formatCode>
                <c:ptCount val="31"/>
                <c:pt idx="0">
                  <c:v>0.74054660341442125</c:v>
                </c:pt>
                <c:pt idx="1">
                  <c:v>0.74461008652461036</c:v>
                </c:pt>
                <c:pt idx="2">
                  <c:v>0.74854825018652837</c:v>
                </c:pt>
                <c:pt idx="3">
                  <c:v>0.75236680371444764</c:v>
                </c:pt>
                <c:pt idx="4">
                  <c:v>0.75607111480323674</c:v>
                </c:pt>
                <c:pt idx="5">
                  <c:v>0.7596662347029679</c:v>
                </c:pt>
                <c:pt idx="6">
                  <c:v>0.76315692119965695</c:v>
                </c:pt>
                <c:pt idx="7">
                  <c:v>0.76654765962199534</c:v>
                </c:pt>
                <c:pt idx="8">
                  <c:v>0.769842682069109</c:v>
                </c:pt>
                <c:pt idx="9">
                  <c:v>0.77304598503265654</c:v>
                </c:pt>
                <c:pt idx="10">
                  <c:v>0.77616134556755489</c:v>
                </c:pt>
                <c:pt idx="11">
                  <c:v>0.77919233614890149</c:v>
                </c:pt>
                <c:pt idx="12">
                  <c:v>0.78214233833796087</c:v>
                </c:pt>
                <c:pt idx="13">
                  <c:v>0.78501455536712417</c:v>
                </c:pt>
                <c:pt idx="14">
                  <c:v>0.78781202374230808</c:v>
                </c:pt>
                <c:pt idx="15">
                  <c:v>0.79053762395114158</c:v>
                </c:pt>
                <c:pt idx="16">
                  <c:v>0.79319409035632682</c:v>
                </c:pt>
                <c:pt idx="17">
                  <c:v>0.79578402034560269</c:v>
                </c:pt>
                <c:pt idx="18">
                  <c:v>0.79830988280267623</c:v>
                </c:pt>
                <c:pt idx="19">
                  <c:v>0.8007740259571946</c:v>
                </c:pt>
                <c:pt idx="20">
                  <c:v>0.80317868466622055</c:v>
                </c:pt>
                <c:pt idx="21">
                  <c:v>0.8055259871746735</c:v>
                </c:pt>
                <c:pt idx="22">
                  <c:v>0.80781796139771789</c:v>
                </c:pt>
                <c:pt idx="23">
                  <c:v>0.81005654076408118</c:v>
                </c:pt>
                <c:pt idx="24">
                  <c:v>0.81224356965568656</c:v>
                </c:pt>
                <c:pt idx="25">
                  <c:v>0.81438080847576977</c:v>
                </c:pt>
                <c:pt idx="26">
                  <c:v>0.81646993837474824</c:v>
                </c:pt>
                <c:pt idx="27">
                  <c:v>0.81851256566050501</c:v>
                </c:pt>
                <c:pt idx="28">
                  <c:v>0.82051022591740641</c:v>
                </c:pt>
                <c:pt idx="29">
                  <c:v>0.82246438785624798</c:v>
                </c:pt>
                <c:pt idx="30">
                  <c:v>0.8243764569154160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Chrom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51748940447825853</c:v>
                </c:pt>
                <c:pt idx="1">
                  <c:v>0.30734184707340645</c:v>
                </c:pt>
                <c:pt idx="2">
                  <c:v>0.11999550421132797</c:v>
                </c:pt>
                <c:pt idx="3">
                  <c:v>5.472732234729924E-2</c:v>
                </c:pt>
                <c:pt idx="4">
                  <c:v>8.2239022628032205E-4</c:v>
                </c:pt>
                <c:pt idx="5">
                  <c:v>7.2648656171734368E-4</c:v>
                </c:pt>
                <c:pt idx="6">
                  <c:v>4.6099027276491709E-4</c:v>
                </c:pt>
                <c:pt idx="7">
                  <c:v>3.9704656730975133E-4</c:v>
                </c:pt>
                <c:pt idx="8">
                  <c:v>3.8318264418793149E-4</c:v>
                </c:pt>
                <c:pt idx="9">
                  <c:v>3.1618888868715079E-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Chrom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46597740378557434</c:v>
                </c:pt>
                <c:pt idx="1">
                  <c:v>0.35996609003180668</c:v>
                </c:pt>
                <c:pt idx="2">
                  <c:v>0.10722129977741027</c:v>
                </c:pt>
                <c:pt idx="3">
                  <c:v>6.6491992761776586E-2</c:v>
                </c:pt>
                <c:pt idx="4">
                  <c:v>6.3294551461400635E-4</c:v>
                </c:pt>
                <c:pt idx="5">
                  <c:v>5.5907227409576375E-4</c:v>
                </c:pt>
                <c:pt idx="6">
                  <c:v>3.5477677773932239E-4</c:v>
                </c:pt>
                <c:pt idx="7">
                  <c:v>3.0555256896952368E-4</c:v>
                </c:pt>
                <c:pt idx="8">
                  <c:v>2.9488637734561592E-4</c:v>
                </c:pt>
                <c:pt idx="9">
                  <c:v>2.4336514725393412E-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5 Blades Blade Refills 4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6.7700000000000005</c:v>
                </c:pt>
                <c:pt idx="1">
                  <c:v>7.2700000000000005</c:v>
                </c:pt>
                <c:pt idx="2">
                  <c:v>7.97</c:v>
                </c:pt>
                <c:pt idx="3">
                  <c:v>8.77</c:v>
                </c:pt>
                <c:pt idx="4">
                  <c:v>9.9700000000000006</c:v>
                </c:pt>
              </c:numCache>
            </c:numRef>
          </c:xVal>
          <c:yVal>
            <c:numRef>
              <c:f>Sheet1!$B$2:$B$6</c:f>
              <c:numCache>
                <c:formatCode>General</c:formatCode>
                <c:ptCount val="5"/>
                <c:pt idx="0">
                  <c:v>0.21843719091767316</c:v>
                </c:pt>
                <c:pt idx="1">
                  <c:v>9.0665536584596043E-2</c:v>
                </c:pt>
                <c:pt idx="2">
                  <c:v>0</c:v>
                </c:pt>
                <c:pt idx="3">
                  <c:v>-4.0517477461250326E-2</c:v>
                </c:pt>
                <c:pt idx="4">
                  <c:v>-8.5878336644851963E-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9.9700000000000006"/>
          <c:min val="6.7700000000000005"/>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B$2:$B$18</c:f>
              <c:numCache>
                <c:formatCode>General</c:formatCode>
                <c:ptCount val="17"/>
                <c:pt idx="0">
                  <c:v>121.57281169575201</c:v>
                </c:pt>
                <c:pt idx="1">
                  <c:v>116.35211910260368</c:v>
                </c:pt>
                <c:pt idx="2">
                  <c:v>111.37019497650995</c:v>
                </c:pt>
                <c:pt idx="3">
                  <c:v>106.6161024724168</c:v>
                </c:pt>
                <c:pt idx="4">
                  <c:v>102.07933143853143</c:v>
                </c:pt>
                <c:pt idx="5">
                  <c:v>101.03331327533044</c:v>
                </c:pt>
                <c:pt idx="6">
                  <c:v>100</c:v>
                </c:pt>
                <c:pt idx="7">
                  <c:v>98.979172034811597</c:v>
                </c:pt>
                <c:pt idx="8">
                  <c:v>97.970614633277563</c:v>
                </c:pt>
                <c:pt idx="9">
                  <c:v>96.974117791308529</c:v>
                </c:pt>
                <c:pt idx="10">
                  <c:v>95.989476157529836</c:v>
                </c:pt>
                <c:pt idx="11">
                  <c:v>95.016488943077547</c:v>
                </c:pt>
                <c:pt idx="12">
                  <c:v>94.303357767164258</c:v>
                </c:pt>
                <c:pt idx="13">
                  <c:v>93.594630087391934</c:v>
                </c:pt>
                <c:pt idx="14">
                  <c:v>92.890289237172169</c:v>
                </c:pt>
                <c:pt idx="15">
                  <c:v>92.190318648867262</c:v>
                </c:pt>
                <c:pt idx="16">
                  <c:v>91.4947018519158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C$2:$C$18</c:f>
              <c:numCache>
                <c:formatCode>General</c:formatCode>
                <c:ptCount val="17"/>
                <c:pt idx="0">
                  <c:v>103.70737988429242</c:v>
                </c:pt>
                <c:pt idx="1">
                  <c:v>102.08947197463903</c:v>
                </c:pt>
                <c:pt idx="2">
                  <c:v>100.43302227061336</c:v>
                </c:pt>
                <c:pt idx="3">
                  <c:v>98.745397130925198</c:v>
                </c:pt>
                <c:pt idx="4">
                  <c:v>97.033273673013937</c:v>
                </c:pt>
                <c:pt idx="5">
                  <c:v>98.536767785424104</c:v>
                </c:pt>
                <c:pt idx="6">
                  <c:v>100</c:v>
                </c:pt>
                <c:pt idx="7">
                  <c:v>101.42376755569411</c:v>
                </c:pt>
                <c:pt idx="8">
                  <c:v>102.80884732640412</c:v>
                </c:pt>
                <c:pt idx="9">
                  <c:v>104.15599649134188</c:v>
                </c:pt>
                <c:pt idx="10">
                  <c:v>105.46595318317583</c:v>
                </c:pt>
                <c:pt idx="11">
                  <c:v>106.73943711456883</c:v>
                </c:pt>
                <c:pt idx="12">
                  <c:v>108.26468869838514</c:v>
                </c:pt>
                <c:pt idx="13">
                  <c:v>109.75888380605221</c:v>
                </c:pt>
                <c:pt idx="14">
                  <c:v>111.22237877442286</c:v>
                </c:pt>
                <c:pt idx="15">
                  <c:v>112.65552691849567</c:v>
                </c:pt>
                <c:pt idx="16">
                  <c:v>114.0586785748904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D$2:$D$18</c:f>
              <c:numCache>
                <c:formatCode>General</c:formatCode>
                <c:ptCount val="17"/>
                <c:pt idx="0">
                  <c:v>96.145709846945593</c:v>
                </c:pt>
                <c:pt idx="1">
                  <c:v>96.064273207101294</c:v>
                </c:pt>
                <c:pt idx="2">
                  <c:v>95.82337959662928</c:v>
                </c:pt>
                <c:pt idx="3">
                  <c:v>95.438538783226448</c:v>
                </c:pt>
                <c:pt idx="4">
                  <c:v>94.924074014470364</c:v>
                </c:pt>
                <c:pt idx="5">
                  <c:v>97.492665665112639</c:v>
                </c:pt>
                <c:pt idx="6">
                  <c:v>100</c:v>
                </c:pt>
                <c:pt idx="7">
                  <c:v>102.44721830899957</c:v>
                </c:pt>
                <c:pt idx="8">
                  <c:v>104.83543490597557</c:v>
                </c:pt>
                <c:pt idx="9">
                  <c:v>107.16573793657234</c:v>
                </c:pt>
                <c:pt idx="10">
                  <c:v>109.43919016364956</c:v>
                </c:pt>
                <c:pt idx="11">
                  <c:v>111.65682973066262</c:v>
                </c:pt>
                <c:pt idx="12">
                  <c:v>114.12340923841838</c:v>
                </c:pt>
                <c:pt idx="13">
                  <c:v>116.54506161025108</c:v>
                </c:pt>
                <c:pt idx="14">
                  <c:v>118.92224294535116</c:v>
                </c:pt>
                <c:pt idx="15">
                  <c:v>121.25540683508483</c:v>
                </c:pt>
                <c:pt idx="16">
                  <c:v>123.5450043826145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E$2:$E$18</c:f>
              <c:numCache>
                <c:formatCode>General</c:formatCode>
                <c:ptCount val="17"/>
                <c:pt idx="0">
                  <c:v>0.6631671519098048</c:v>
                </c:pt>
                <c:pt idx="1">
                  <c:v>0.67283236993247897</c:v>
                </c:pt>
                <c:pt idx="2">
                  <c:v>0.68195838471818382</c:v>
                </c:pt>
                <c:pt idx="3">
                  <c:v>0.690589093409685</c:v>
                </c:pt>
                <c:pt idx="4">
                  <c:v>0.69876375408578317</c:v>
                </c:pt>
                <c:pt idx="5">
                  <c:v>0.70651758280944388</c:v>
                </c:pt>
                <c:pt idx="6">
                  <c:v>0.71388226078160322</c:v>
                </c:pt>
                <c:pt idx="7">
                  <c:v>0.72088636700481989</c:v>
                </c:pt>
                <c:pt idx="8">
                  <c:v>0.72755574891629371</c:v>
                </c:pt>
                <c:pt idx="9">
                  <c:v>0.73391384112361469</c:v>
                </c:pt>
                <c:pt idx="10">
                  <c:v>0.73998194052786526</c:v>
                </c:pt>
                <c:pt idx="11">
                  <c:v>0.74577944464095636</c:v>
                </c:pt>
                <c:pt idx="12">
                  <c:v>0.75132405871639907</c:v>
                </c:pt>
                <c:pt idx="13">
                  <c:v>0.75663197635318868</c:v>
                </c:pt>
                <c:pt idx="14">
                  <c:v>0.76171803745343558</c:v>
                </c:pt>
                <c:pt idx="15">
                  <c:v>0.7665958667788515</c:v>
                </c:pt>
                <c:pt idx="16">
                  <c:v>0.77127799583042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5 Blades Blade Refills 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rry's Men Five Blade Refills 8 Pack (1.6%)</c:v>
                </c:pt>
                <c:pt idx="1">
                  <c:v>Harry's Men Five Blade Refills 4 Pack (2.5%)</c:v>
                </c:pt>
                <c:pt idx="2">
                  <c:v>None Blades (83.2%)</c:v>
                </c:pt>
                <c:pt idx="3">
                  <c:v>Harry's Men Five Blade Refills 12 Pack (0.9%)</c:v>
                </c:pt>
                <c:pt idx="4">
                  <c:v>None Razors (12.2%)</c:v>
                </c:pt>
                <c:pt idx="5">
                  <c:v>Dollar Shave Club 6 1 Handle + 2 Blades (2.0%)</c:v>
                </c:pt>
                <c:pt idx="6">
                  <c:v>Gillette Mach 3 1 Handle + 2 Cartridges (2.7%)</c:v>
                </c:pt>
                <c:pt idx="7">
                  <c:v>Dollar Shave Club 6 Blades Blade Refills 4 Pack (0.6%)</c:v>
                </c:pt>
                <c:pt idx="8">
                  <c:v>Gillette Fusion 5 1 Handle + 2 Cartridges (2.9%)</c:v>
                </c:pt>
                <c:pt idx="9">
                  <c:v>Van Der Hagen Men Double Edge Blade 1 Handle + 5 Cartridges (0.8%)</c:v>
                </c:pt>
              </c:strCache>
            </c:strRef>
          </c:cat>
          <c:val>
            <c:numRef>
              <c:f>Sheet1!$B$2:$B$11</c:f>
              <c:numCache>
                <c:formatCode>General</c:formatCode>
                <c:ptCount val="10"/>
                <c:pt idx="0">
                  <c:v>0.43419014149203178</c:v>
                </c:pt>
                <c:pt idx="1">
                  <c:v>0.33131443890007733</c:v>
                </c:pt>
                <c:pt idx="2">
                  <c:v>0.14353650442123528</c:v>
                </c:pt>
                <c:pt idx="3">
                  <c:v>9.0559430995974827E-2</c:v>
                </c:pt>
                <c:pt idx="4">
                  <c:v>5.0075667391408891E-4</c:v>
                </c:pt>
                <c:pt idx="5">
                  <c:v>3.1701931358042436E-4</c:v>
                </c:pt>
                <c:pt idx="6">
                  <c:v>1.1678498415079861E-4</c:v>
                </c:pt>
                <c:pt idx="7">
                  <c:v>9.3378677263567534E-5</c:v>
                </c:pt>
                <c:pt idx="8">
                  <c:v>9.2964862675745603E-5</c:v>
                </c:pt>
                <c:pt idx="9">
                  <c:v>8.0409490911163088E-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5 Blades Blade Refills 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rry's Men Five Blade Refills 8 Pack (1.6%)</c:v>
                </c:pt>
                <c:pt idx="1">
                  <c:v>Harry's Men Five Blade Refills 4 Pack (2.5%)</c:v>
                </c:pt>
                <c:pt idx="2">
                  <c:v>None Blades (83.2%)</c:v>
                </c:pt>
                <c:pt idx="3">
                  <c:v>Harry's Men Five Blade Refills 12 Pack (0.9%)</c:v>
                </c:pt>
                <c:pt idx="4">
                  <c:v>None Razors (12.2%)</c:v>
                </c:pt>
                <c:pt idx="5">
                  <c:v>Dollar Shave Club 6 1 Handle + 2 Blades (2.0%)</c:v>
                </c:pt>
                <c:pt idx="6">
                  <c:v>Gillette Mach 3 1 Handle + 2 Cartridges (2.7%)</c:v>
                </c:pt>
                <c:pt idx="7">
                  <c:v>Dollar Shave Club 6 Blades Blade Refills 4 Pack (0.6%)</c:v>
                </c:pt>
                <c:pt idx="8">
                  <c:v>Gillette Fusion 5 1 Handle + 2 Cartridges (2.9%)</c:v>
                </c:pt>
                <c:pt idx="9">
                  <c:v>Van Der Hagen Men Double Edge Blade 1 Handle + 5 Cartridges (0.8%)</c:v>
                </c:pt>
              </c:strCache>
            </c:strRef>
          </c:cat>
          <c:val>
            <c:numRef>
              <c:f>Sheet1!$B$2:$B$11</c:f>
              <c:numCache>
                <c:formatCode>General</c:formatCode>
                <c:ptCount val="10"/>
                <c:pt idx="0">
                  <c:v>0.4251299458061123</c:v>
                </c:pt>
                <c:pt idx="1">
                  <c:v>0.32062920209148321</c:v>
                </c:pt>
                <c:pt idx="2">
                  <c:v>0.16086497763456187</c:v>
                </c:pt>
                <c:pt idx="3">
                  <c:v>9.2182487766882842E-2</c:v>
                </c:pt>
                <c:pt idx="4">
                  <c:v>1.4958971091677421E-3</c:v>
                </c:pt>
                <c:pt idx="5">
                  <c:v>9.470404528890454E-4</c:v>
                </c:pt>
                <c:pt idx="6">
                  <c:v>3.488731936445684E-4</c:v>
                </c:pt>
                <c:pt idx="7">
                  <c:v>2.7895260556919538E-4</c:v>
                </c:pt>
                <c:pt idx="8">
                  <c:v>2.7771626236036136E-4</c:v>
                </c:pt>
                <c:pt idx="9">
                  <c:v>2.4020992924949014E-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Van Der Hagen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arrys (11.2%)</c:v>
                </c:pt>
                <c:pt idx="1">
                  <c:v>Gillette (38.7%)</c:v>
                </c:pt>
                <c:pt idx="2">
                  <c:v>Bic (16.9%)</c:v>
                </c:pt>
                <c:pt idx="3">
                  <c:v>Equate (21.7%)</c:v>
                </c:pt>
                <c:pt idx="4">
                  <c:v>Schick (11.2%)</c:v>
                </c:pt>
                <c:pt idx="5">
                  <c:v>Dollar Shave Club (2.9%)</c:v>
                </c:pt>
              </c:strCache>
            </c:strRef>
          </c:cat>
          <c:val>
            <c:numRef>
              <c:f>Sheet1!$B$2:$B$7</c:f>
              <c:numCache>
                <c:formatCode>General</c:formatCode>
                <c:ptCount val="6"/>
                <c:pt idx="0">
                  <c:v>0.24458236783632212</c:v>
                </c:pt>
                <c:pt idx="1">
                  <c:v>0.17308481397078135</c:v>
                </c:pt>
                <c:pt idx="2">
                  <c:v>9.9379951100320232E-2</c:v>
                </c:pt>
                <c:pt idx="3">
                  <c:v>6.8572069587400891E-2</c:v>
                </c:pt>
                <c:pt idx="4">
                  <c:v>5.3966859184966971E-2</c:v>
                </c:pt>
                <c:pt idx="5">
                  <c:v>3.986620323433021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Easy Fit 5 Blade Refills 4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7.57</c:v>
                </c:pt>
                <c:pt idx="1">
                  <c:v>8.07</c:v>
                </c:pt>
                <c:pt idx="2">
                  <c:v>8.9700000000000006</c:v>
                </c:pt>
                <c:pt idx="3">
                  <c:v>9.870000000000001</c:v>
                </c:pt>
                <c:pt idx="4">
                  <c:v>10.97</c:v>
                </c:pt>
              </c:numCache>
            </c:numRef>
          </c:xVal>
          <c:yVal>
            <c:numRef>
              <c:f>Sheet1!$B$2:$B$6</c:f>
              <c:numCache>
                <c:formatCode>General</c:formatCode>
                <c:ptCount val="5"/>
                <c:pt idx="0">
                  <c:v>7.008868919391005E-2</c:v>
                </c:pt>
                <c:pt idx="1">
                  <c:v>4.4274658164774348E-2</c:v>
                </c:pt>
                <c:pt idx="2">
                  <c:v>0</c:v>
                </c:pt>
                <c:pt idx="3">
                  <c:v>-3.059957570673548E-2</c:v>
                </c:pt>
                <c:pt idx="4">
                  <c:v>-9.8971371156623716E-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Equate Easy Fit 5 Blade Refills 8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3.47</c:v>
                </c:pt>
                <c:pt idx="1">
                  <c:v>13.97</c:v>
                </c:pt>
                <c:pt idx="2">
                  <c:v>15.97</c:v>
                </c:pt>
                <c:pt idx="3">
                  <c:v>17.97</c:v>
                </c:pt>
                <c:pt idx="4">
                  <c:v>19.97</c:v>
                </c:pt>
              </c:numCache>
            </c:numRef>
          </c:xVal>
          <c:yVal>
            <c:numRef>
              <c:f>Sheet1!$B$9:$B$13</c:f>
              <c:numCache>
                <c:formatCode>General</c:formatCode>
                <c:ptCount val="5"/>
                <c:pt idx="0">
                  <c:v>0.11616457852638612</c:v>
                </c:pt>
                <c:pt idx="1">
                  <c:v>9.2719582914804061E-2</c:v>
                </c:pt>
                <c:pt idx="2">
                  <c:v>0</c:v>
                </c:pt>
                <c:pt idx="3">
                  <c:v>-0.1377509843916325</c:v>
                </c:pt>
                <c:pt idx="4">
                  <c:v>-0.2116262181224225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Equate Easy Fit 5 Blade Refills 12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6.97</c:v>
                </c:pt>
                <c:pt idx="1">
                  <c:v>17.97</c:v>
                </c:pt>
                <c:pt idx="2">
                  <c:v>19.97</c:v>
                </c:pt>
                <c:pt idx="3">
                  <c:v>21.97</c:v>
                </c:pt>
                <c:pt idx="4">
                  <c:v>22.97</c:v>
                </c:pt>
              </c:numCache>
            </c:numRef>
          </c:xVal>
          <c:yVal>
            <c:numRef>
              <c:f>Sheet1!$B$16:$B$20</c:f>
              <c:numCache>
                <c:formatCode>General</c:formatCode>
                <c:ptCount val="5"/>
                <c:pt idx="0">
                  <c:v>0.1467765608891175</c:v>
                </c:pt>
                <c:pt idx="1">
                  <c:v>8.5623250469213416E-2</c:v>
                </c:pt>
                <c:pt idx="2">
                  <c:v>0</c:v>
                </c:pt>
                <c:pt idx="3">
                  <c:v>-7.9444014662752749E-2</c:v>
                </c:pt>
                <c:pt idx="4">
                  <c:v>-0.1138513670350795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2.97"/>
          <c:min val="7.57"/>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7.57</c:v>
                </c:pt>
                <c:pt idx="1">
                  <c:v>7.77</c:v>
                </c:pt>
                <c:pt idx="2">
                  <c:v>7.97</c:v>
                </c:pt>
                <c:pt idx="3">
                  <c:v>8.17</c:v>
                </c:pt>
                <c:pt idx="4">
                  <c:v>8.37</c:v>
                </c:pt>
                <c:pt idx="5">
                  <c:v>8.57</c:v>
                </c:pt>
                <c:pt idx="6">
                  <c:v>8.77</c:v>
                </c:pt>
                <c:pt idx="7">
                  <c:v>8.97</c:v>
                </c:pt>
                <c:pt idx="8">
                  <c:v>9.17</c:v>
                </c:pt>
                <c:pt idx="9">
                  <c:v>9.37</c:v>
                </c:pt>
                <c:pt idx="10">
                  <c:v>9.57</c:v>
                </c:pt>
                <c:pt idx="11">
                  <c:v>9.77</c:v>
                </c:pt>
                <c:pt idx="12">
                  <c:v>9.97</c:v>
                </c:pt>
                <c:pt idx="13">
                  <c:v>10.17</c:v>
                </c:pt>
                <c:pt idx="14">
                  <c:v>10.37</c:v>
                </c:pt>
                <c:pt idx="15">
                  <c:v>10.57</c:v>
                </c:pt>
                <c:pt idx="16">
                  <c:v>10.77</c:v>
                </c:pt>
                <c:pt idx="17">
                  <c:v>10.97</c:v>
                </c:pt>
              </c:strCache>
            </c:strRef>
          </c:cat>
          <c:val>
            <c:numRef>
              <c:f>Sheet1!$B$2:$B$19</c:f>
              <c:numCache>
                <c:formatCode>General</c:formatCode>
                <c:ptCount val="18"/>
                <c:pt idx="0">
                  <c:v>106.75949760723542</c:v>
                </c:pt>
                <c:pt idx="1">
                  <c:v>105.75524861620033</c:v>
                </c:pt>
                <c:pt idx="2">
                  <c:v>104.76423253086922</c:v>
                </c:pt>
                <c:pt idx="3">
                  <c:v>103.78622779720712</c:v>
                </c:pt>
                <c:pt idx="4">
                  <c:v>102.82101596350954</c:v>
                </c:pt>
                <c:pt idx="5">
                  <c:v>101.8683816864924</c:v>
                </c:pt>
                <c:pt idx="6">
                  <c:v>100.92811273625107</c:v>
                </c:pt>
                <c:pt idx="7">
                  <c:v>100</c:v>
                </c:pt>
                <c:pt idx="8">
                  <c:v>99.333053116760524</c:v>
                </c:pt>
                <c:pt idx="9">
                  <c:v>98.671237015037477</c:v>
                </c:pt>
                <c:pt idx="10">
                  <c:v>98.014511449458936</c:v>
                </c:pt>
                <c:pt idx="11">
                  <c:v>97.362836426691345</c:v>
                </c:pt>
                <c:pt idx="12">
                  <c:v>96.716172205032493</c:v>
                </c:pt>
                <c:pt idx="13">
                  <c:v>95.401519990340361</c:v>
                </c:pt>
                <c:pt idx="14">
                  <c:v>94.113624235977127</c:v>
                </c:pt>
                <c:pt idx="15">
                  <c:v>92.851780918711299</c:v>
                </c:pt>
                <c:pt idx="16">
                  <c:v>91.615306133232693</c:v>
                </c:pt>
                <c:pt idx="17">
                  <c:v>90.40353558271257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7.57</c:v>
                </c:pt>
                <c:pt idx="1">
                  <c:v>7.77</c:v>
                </c:pt>
                <c:pt idx="2">
                  <c:v>7.97</c:v>
                </c:pt>
                <c:pt idx="3">
                  <c:v>8.17</c:v>
                </c:pt>
                <c:pt idx="4">
                  <c:v>8.37</c:v>
                </c:pt>
                <c:pt idx="5">
                  <c:v>8.57</c:v>
                </c:pt>
                <c:pt idx="6">
                  <c:v>8.77</c:v>
                </c:pt>
                <c:pt idx="7">
                  <c:v>8.97</c:v>
                </c:pt>
                <c:pt idx="8">
                  <c:v>9.17</c:v>
                </c:pt>
                <c:pt idx="9">
                  <c:v>9.37</c:v>
                </c:pt>
                <c:pt idx="10">
                  <c:v>9.57</c:v>
                </c:pt>
                <c:pt idx="11">
                  <c:v>9.77</c:v>
                </c:pt>
                <c:pt idx="12">
                  <c:v>9.97</c:v>
                </c:pt>
                <c:pt idx="13">
                  <c:v>10.17</c:v>
                </c:pt>
                <c:pt idx="14">
                  <c:v>10.37</c:v>
                </c:pt>
                <c:pt idx="15">
                  <c:v>10.57</c:v>
                </c:pt>
                <c:pt idx="16">
                  <c:v>10.77</c:v>
                </c:pt>
                <c:pt idx="17">
                  <c:v>10.97</c:v>
                </c:pt>
              </c:strCache>
            </c:strRef>
          </c:cat>
          <c:val>
            <c:numRef>
              <c:f>Sheet1!$C$2:$C$19</c:f>
              <c:numCache>
                <c:formatCode>General</c:formatCode>
                <c:ptCount val="18"/>
                <c:pt idx="0">
                  <c:v>90.692148688522224</c:v>
                </c:pt>
                <c:pt idx="1">
                  <c:v>92.121129494132873</c:v>
                </c:pt>
                <c:pt idx="2">
                  <c:v>93.51567724712973</c:v>
                </c:pt>
                <c:pt idx="3">
                  <c:v>94.876618345408119</c:v>
                </c:pt>
                <c:pt idx="4">
                  <c:v>96.204754628173291</c:v>
                </c:pt>
                <c:pt idx="5">
                  <c:v>97.500864115873696</c:v>
                </c:pt>
                <c:pt idx="6">
                  <c:v>98.765701730951307</c:v>
                </c:pt>
                <c:pt idx="7">
                  <c:v>100</c:v>
                </c:pt>
                <c:pt idx="8">
                  <c:v>101.46673827637341</c:v>
                </c:pt>
                <c:pt idx="9">
                  <c:v>102.90778140002979</c:v>
                </c:pt>
                <c:pt idx="10">
                  <c:v>104.3235200573834</c:v>
                </c:pt>
                <c:pt idx="11">
                  <c:v>105.71433847550389</c:v>
                </c:pt>
                <c:pt idx="12">
                  <c:v>107.08061454407924</c:v>
                </c:pt>
                <c:pt idx="13">
                  <c:v>107.64391816509347</c:v>
                </c:pt>
                <c:pt idx="14">
                  <c:v>108.1811350058386</c:v>
                </c:pt>
                <c:pt idx="15">
                  <c:v>108.69325314886258</c:v>
                </c:pt>
                <c:pt idx="16">
                  <c:v>109.1812165070765</c:v>
                </c:pt>
                <c:pt idx="17">
                  <c:v>109.6459269660687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7.57</c:v>
                </c:pt>
                <c:pt idx="1">
                  <c:v>7.77</c:v>
                </c:pt>
                <c:pt idx="2">
                  <c:v>7.97</c:v>
                </c:pt>
                <c:pt idx="3">
                  <c:v>8.17</c:v>
                </c:pt>
                <c:pt idx="4">
                  <c:v>8.37</c:v>
                </c:pt>
                <c:pt idx="5">
                  <c:v>8.57</c:v>
                </c:pt>
                <c:pt idx="6">
                  <c:v>8.77</c:v>
                </c:pt>
                <c:pt idx="7">
                  <c:v>8.97</c:v>
                </c:pt>
                <c:pt idx="8">
                  <c:v>9.17</c:v>
                </c:pt>
                <c:pt idx="9">
                  <c:v>9.37</c:v>
                </c:pt>
                <c:pt idx="10">
                  <c:v>9.57</c:v>
                </c:pt>
                <c:pt idx="11">
                  <c:v>9.77</c:v>
                </c:pt>
                <c:pt idx="12">
                  <c:v>9.97</c:v>
                </c:pt>
                <c:pt idx="13">
                  <c:v>10.17</c:v>
                </c:pt>
                <c:pt idx="14">
                  <c:v>10.37</c:v>
                </c:pt>
                <c:pt idx="15">
                  <c:v>10.57</c:v>
                </c:pt>
                <c:pt idx="16">
                  <c:v>10.77</c:v>
                </c:pt>
                <c:pt idx="17">
                  <c:v>10.97</c:v>
                </c:pt>
              </c:strCache>
            </c:strRef>
          </c:cat>
          <c:val>
            <c:numRef>
              <c:f>Sheet1!$D$2:$D$19</c:f>
              <c:numCache>
                <c:formatCode>General</c:formatCode>
                <c:ptCount val="18"/>
                <c:pt idx="0">
                  <c:v>84.204458522166377</c:v>
                </c:pt>
                <c:pt idx="1">
                  <c:v>86.609444318996523</c:v>
                </c:pt>
                <c:pt idx="2">
                  <c:v>88.963159942317318</c:v>
                </c:pt>
                <c:pt idx="3">
                  <c:v>91.266698792325698</c:v>
                </c:pt>
                <c:pt idx="4">
                  <c:v>93.521126626874363</c:v>
                </c:pt>
                <c:pt idx="5">
                  <c:v>95.727482183191967</c:v>
                </c:pt>
                <c:pt idx="6">
                  <c:v>97.886777794306639</c:v>
                </c:pt>
                <c:pt idx="7">
                  <c:v>100</c:v>
                </c:pt>
                <c:pt idx="8">
                  <c:v>102.33363750572524</c:v>
                </c:pt>
                <c:pt idx="9">
                  <c:v>104.63124206079965</c:v>
                </c:pt>
                <c:pt idx="10">
                  <c:v>106.89327353886588</c:v>
                </c:pt>
                <c:pt idx="11">
                  <c:v>109.12018627976605</c:v>
                </c:pt>
                <c:pt idx="12">
                  <c:v>111.3124291477862</c:v>
                </c:pt>
                <c:pt idx="13">
                  <c:v>112.64871127126361</c:v>
                </c:pt>
                <c:pt idx="14">
                  <c:v>113.93738001561566</c:v>
                </c:pt>
                <c:pt idx="15">
                  <c:v>115.18007098070949</c:v>
                </c:pt>
                <c:pt idx="16">
                  <c:v>116.37835392650024</c:v>
                </c:pt>
                <c:pt idx="17">
                  <c:v>117.5337355898128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7.57</c:v>
                </c:pt>
                <c:pt idx="1">
                  <c:v>7.77</c:v>
                </c:pt>
                <c:pt idx="2">
                  <c:v>7.97</c:v>
                </c:pt>
                <c:pt idx="3">
                  <c:v>8.17</c:v>
                </c:pt>
                <c:pt idx="4">
                  <c:v>8.37</c:v>
                </c:pt>
                <c:pt idx="5">
                  <c:v>8.57</c:v>
                </c:pt>
                <c:pt idx="6">
                  <c:v>8.77</c:v>
                </c:pt>
                <c:pt idx="7">
                  <c:v>8.97</c:v>
                </c:pt>
                <c:pt idx="8">
                  <c:v>9.17</c:v>
                </c:pt>
                <c:pt idx="9">
                  <c:v>9.37</c:v>
                </c:pt>
                <c:pt idx="10">
                  <c:v>9.57</c:v>
                </c:pt>
                <c:pt idx="11">
                  <c:v>9.77</c:v>
                </c:pt>
                <c:pt idx="12">
                  <c:v>9.97</c:v>
                </c:pt>
                <c:pt idx="13">
                  <c:v>10.17</c:v>
                </c:pt>
                <c:pt idx="14">
                  <c:v>10.37</c:v>
                </c:pt>
                <c:pt idx="15">
                  <c:v>10.57</c:v>
                </c:pt>
                <c:pt idx="16">
                  <c:v>10.77</c:v>
                </c:pt>
                <c:pt idx="17">
                  <c:v>10.97</c:v>
                </c:pt>
              </c:strCache>
            </c:strRef>
          </c:cat>
          <c:val>
            <c:numRef>
              <c:f>Sheet1!$E$2:$E$19</c:f>
              <c:numCache>
                <c:formatCode>General</c:formatCode>
                <c:ptCount val="18"/>
                <c:pt idx="0">
                  <c:v>0.68288629288317748</c:v>
                </c:pt>
                <c:pt idx="1">
                  <c:v>0.69104880786687939</c:v>
                </c:pt>
                <c:pt idx="2">
                  <c:v>0.69880166086896534</c:v>
                </c:pt>
                <c:pt idx="3">
                  <c:v>0.70617493722468216</c:v>
                </c:pt>
                <c:pt idx="4">
                  <c:v>0.71319584672946879</c:v>
                </c:pt>
                <c:pt idx="5">
                  <c:v>0.71988905917452195</c:v>
                </c:pt>
                <c:pt idx="6">
                  <c:v>0.7262769939709981</c:v>
                </c:pt>
                <c:pt idx="7">
                  <c:v>0.732380071028501</c:v>
                </c:pt>
                <c:pt idx="8">
                  <c:v>0.73821692880323375</c:v>
                </c:pt>
                <c:pt idx="9">
                  <c:v>0.74380461442109436</c:v>
                </c:pt>
                <c:pt idx="10">
                  <c:v>0.74915874996088339</c:v>
                </c:pt>
                <c:pt idx="11">
                  <c:v>0.75429367831378236</c:v>
                </c:pt>
                <c:pt idx="12">
                  <c:v>0.75922259148702631</c:v>
                </c:pt>
                <c:pt idx="13">
                  <c:v>0.76395764376850084</c:v>
                </c:pt>
                <c:pt idx="14">
                  <c:v>0.76851005179610932</c:v>
                </c:pt>
                <c:pt idx="15">
                  <c:v>0.77289018326638148</c:v>
                </c:pt>
                <c:pt idx="16">
                  <c:v>0.77710763575911357</c:v>
                </c:pt>
                <c:pt idx="17">
                  <c:v>0.781171306939439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Easy Fit 5 Blade Refills 4 Pack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Gillette Fusion 5 Blade Refills 4 Pack (1.1%)</c:v>
                </c:pt>
                <c:pt idx="2">
                  <c:v>Equate Easy Fit 5 Blade Refills 8 Pack (0.4%)</c:v>
                </c:pt>
                <c:pt idx="3">
                  <c:v>Equate Easy Fit 5 Blade Refills 12 Pack (0.4%)</c:v>
                </c:pt>
                <c:pt idx="4">
                  <c:v>Gillette Fusion 5 Proglide Blade Refills 4 Pack (1.2%)</c:v>
                </c:pt>
                <c:pt idx="5">
                  <c:v>Gillette Fusion 5 Blade Refills 12 Pack (0.9%)</c:v>
                </c:pt>
                <c:pt idx="6">
                  <c:v>Gillette Fusion 5 Proglide Blade Refills 8 Pack (1.0%)</c:v>
                </c:pt>
                <c:pt idx="7">
                  <c:v>Gillette Fusion 5 Proglide Blade Refills 12 Pack (0.8%)</c:v>
                </c:pt>
                <c:pt idx="8">
                  <c:v>None Razors (12.2%)</c:v>
                </c:pt>
                <c:pt idx="9">
                  <c:v>Gillette Mach 3 1 Handle + 2 Cartridges (2.7%)</c:v>
                </c:pt>
              </c:strCache>
            </c:strRef>
          </c:cat>
          <c:val>
            <c:numRef>
              <c:f>Sheet1!$B$2:$B$11</c:f>
              <c:numCache>
                <c:formatCode>General</c:formatCode>
                <c:ptCount val="10"/>
                <c:pt idx="0">
                  <c:v>0.47479104649874437</c:v>
                </c:pt>
                <c:pt idx="1">
                  <c:v>0.19491996219694835</c:v>
                </c:pt>
                <c:pt idx="2">
                  <c:v>0.11273150308473295</c:v>
                </c:pt>
                <c:pt idx="3">
                  <c:v>7.8971422277174963E-2</c:v>
                </c:pt>
                <c:pt idx="4">
                  <c:v>4.135399057414485E-2</c:v>
                </c:pt>
                <c:pt idx="5">
                  <c:v>3.7523754954543673E-2</c:v>
                </c:pt>
                <c:pt idx="6">
                  <c:v>3.5920876842941013E-2</c:v>
                </c:pt>
                <c:pt idx="7">
                  <c:v>2.3332517893877747E-2</c:v>
                </c:pt>
                <c:pt idx="8">
                  <c:v>8.3610601938482641E-4</c:v>
                </c:pt>
                <c:pt idx="9">
                  <c:v>2.3575015290010397E-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Easy Fit 5 Blade Refills 4 Pack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Gillette Fusion 5 Blade Refills 4 Pack (1.1%)</c:v>
                </c:pt>
                <c:pt idx="2">
                  <c:v>Equate Easy Fit 5 Blade Refills 8 Pack (0.4%)</c:v>
                </c:pt>
                <c:pt idx="3">
                  <c:v>Equate Easy Fit 5 Blade Refills 12 Pack (0.4%)</c:v>
                </c:pt>
                <c:pt idx="4">
                  <c:v>Gillette Fusion 5 Blade Refills 12 Pack (0.9%)</c:v>
                </c:pt>
                <c:pt idx="5">
                  <c:v>Gillette Fusion 5 Proglide Blade Refills 4 Pack (1.2%)</c:v>
                </c:pt>
                <c:pt idx="6">
                  <c:v>Gillette Fusion 5 Proglide Blade Refills 8 Pack (1.0%)</c:v>
                </c:pt>
                <c:pt idx="7">
                  <c:v>Gillette Fusion 5 Proglide Blade Refills 12 Pack (0.8%)</c:v>
                </c:pt>
                <c:pt idx="8">
                  <c:v>None Razors (12.2%)</c:v>
                </c:pt>
                <c:pt idx="9">
                  <c:v>Gillette Mach 3 1 Handle + 2 Cartridges (2.7%)</c:v>
                </c:pt>
              </c:strCache>
            </c:strRef>
          </c:cat>
          <c:val>
            <c:numRef>
              <c:f>Sheet1!$B$2:$B$11</c:f>
              <c:numCache>
                <c:formatCode>General</c:formatCode>
                <c:ptCount val="10"/>
                <c:pt idx="0">
                  <c:v>0.44736194890965242</c:v>
                </c:pt>
                <c:pt idx="1">
                  <c:v>0.17501813001851343</c:v>
                </c:pt>
                <c:pt idx="2">
                  <c:v>0.14695741095526016</c:v>
                </c:pt>
                <c:pt idx="3">
                  <c:v>0.10118515585724965</c:v>
                </c:pt>
                <c:pt idx="4">
                  <c:v>4.0042117248467277E-2</c:v>
                </c:pt>
                <c:pt idx="5">
                  <c:v>3.4939310363728902E-2</c:v>
                </c:pt>
                <c:pt idx="6">
                  <c:v>3.1765859454110708E-2</c:v>
                </c:pt>
                <c:pt idx="7">
                  <c:v>2.2203620555100587E-2</c:v>
                </c:pt>
                <c:pt idx="8">
                  <c:v>9.6754197661023803E-4</c:v>
                </c:pt>
                <c:pt idx="9">
                  <c:v>2.7281842183082524E-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4</c:f>
              <c:strCache>
                <c:ptCount val="33"/>
                <c:pt idx="0">
                  <c:v>13.57</c:v>
                </c:pt>
                <c:pt idx="1">
                  <c:v>13.77</c:v>
                </c:pt>
                <c:pt idx="2">
                  <c:v>13.97</c:v>
                </c:pt>
                <c:pt idx="3">
                  <c:v>14.17</c:v>
                </c:pt>
                <c:pt idx="4">
                  <c:v>14.37</c:v>
                </c:pt>
                <c:pt idx="5">
                  <c:v>14.57</c:v>
                </c:pt>
                <c:pt idx="6">
                  <c:v>14.77</c:v>
                </c:pt>
                <c:pt idx="7">
                  <c:v>14.97</c:v>
                </c:pt>
                <c:pt idx="8">
                  <c:v>15.17</c:v>
                </c:pt>
                <c:pt idx="9">
                  <c:v>15.37</c:v>
                </c:pt>
                <c:pt idx="10">
                  <c:v>15.57</c:v>
                </c:pt>
                <c:pt idx="11">
                  <c:v>15.77</c:v>
                </c:pt>
                <c:pt idx="12">
                  <c:v>15.97</c:v>
                </c:pt>
                <c:pt idx="13">
                  <c:v>16.17</c:v>
                </c:pt>
                <c:pt idx="14">
                  <c:v>16.37</c:v>
                </c:pt>
                <c:pt idx="15">
                  <c:v>16.57</c:v>
                </c:pt>
                <c:pt idx="16">
                  <c:v>16.77</c:v>
                </c:pt>
                <c:pt idx="17">
                  <c:v>16.97</c:v>
                </c:pt>
                <c:pt idx="18">
                  <c:v>17.17</c:v>
                </c:pt>
                <c:pt idx="19">
                  <c:v>17.37</c:v>
                </c:pt>
                <c:pt idx="20">
                  <c:v>17.57</c:v>
                </c:pt>
                <c:pt idx="21">
                  <c:v>17.77</c:v>
                </c:pt>
                <c:pt idx="22">
                  <c:v>17.97</c:v>
                </c:pt>
                <c:pt idx="23">
                  <c:v>18.17</c:v>
                </c:pt>
                <c:pt idx="24">
                  <c:v>18.37</c:v>
                </c:pt>
                <c:pt idx="25">
                  <c:v>18.57</c:v>
                </c:pt>
                <c:pt idx="26">
                  <c:v>18.77</c:v>
                </c:pt>
                <c:pt idx="27">
                  <c:v>18.97</c:v>
                </c:pt>
                <c:pt idx="28">
                  <c:v>19.17</c:v>
                </c:pt>
                <c:pt idx="29">
                  <c:v>19.37</c:v>
                </c:pt>
                <c:pt idx="30">
                  <c:v>19.57</c:v>
                </c:pt>
                <c:pt idx="31">
                  <c:v>19.77</c:v>
                </c:pt>
                <c:pt idx="32">
                  <c:v>19.97</c:v>
                </c:pt>
              </c:strCache>
            </c:strRef>
          </c:cat>
          <c:val>
            <c:numRef>
              <c:f>Sheet1!$B$2:$B$34</c:f>
              <c:numCache>
                <c:formatCode>General</c:formatCode>
                <c:ptCount val="33"/>
                <c:pt idx="0">
                  <c:v>111.17411760498044</c:v>
                </c:pt>
                <c:pt idx="1">
                  <c:v>110.23039635446096</c:v>
                </c:pt>
                <c:pt idx="2">
                  <c:v>109.29846900562339</c:v>
                </c:pt>
                <c:pt idx="3">
                  <c:v>108.37813870979937</c:v>
                </c:pt>
                <c:pt idx="4">
                  <c:v>107.46921201672679</c:v>
                </c:pt>
                <c:pt idx="5">
                  <c:v>106.57149885645877</c:v>
                </c:pt>
                <c:pt idx="6">
                  <c:v>105.68481251779002</c:v>
                </c:pt>
                <c:pt idx="7">
                  <c:v>104.80896962350228</c:v>
                </c:pt>
                <c:pt idx="8">
                  <c:v>103.81943149344339</c:v>
                </c:pt>
                <c:pt idx="9">
                  <c:v>102.84402229283576</c:v>
                </c:pt>
                <c:pt idx="10">
                  <c:v>101.88248306605172</c:v>
                </c:pt>
                <c:pt idx="11">
                  <c:v>100.9345591132133</c:v>
                </c:pt>
                <c:pt idx="12">
                  <c:v>100</c:v>
                </c:pt>
                <c:pt idx="13">
                  <c:v>98.4350342069052</c:v>
                </c:pt>
                <c:pt idx="14">
                  <c:v>96.914035686352747</c:v>
                </c:pt>
                <c:pt idx="15">
                  <c:v>95.435647810418814</c:v>
                </c:pt>
                <c:pt idx="16">
                  <c:v>93.998534363174329</c:v>
                </c:pt>
                <c:pt idx="17">
                  <c:v>92.601382557418432</c:v>
                </c:pt>
                <c:pt idx="18">
                  <c:v>91.242905235932326</c:v>
                </c:pt>
                <c:pt idx="19">
                  <c:v>89.92184243641745</c:v>
                </c:pt>
                <c:pt idx="20">
                  <c:v>88.636962470121347</c:v>
                </c:pt>
                <c:pt idx="21">
                  <c:v>87.387062637306386</c:v>
                </c:pt>
                <c:pt idx="22">
                  <c:v>86.170969678377446</c:v>
                </c:pt>
                <c:pt idx="23">
                  <c:v>84.98754003793735</c:v>
                </c:pt>
                <c:pt idx="24">
                  <c:v>83.835660000229666</c:v>
                </c:pt>
                <c:pt idx="25">
                  <c:v>82.714245738448426</c:v>
                </c:pt>
                <c:pt idx="26">
                  <c:v>82.134832634455066</c:v>
                </c:pt>
                <c:pt idx="27">
                  <c:v>81.561018049329334</c:v>
                </c:pt>
                <c:pt idx="28">
                  <c:v>80.992735890818864</c:v>
                </c:pt>
                <c:pt idx="29">
                  <c:v>80.429920836709925</c:v>
                </c:pt>
                <c:pt idx="30">
                  <c:v>79.872508330514933</c:v>
                </c:pt>
                <c:pt idx="31">
                  <c:v>79.3204345769188</c:v>
                </c:pt>
                <c:pt idx="32">
                  <c:v>78.77363653699457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4</c:f>
              <c:strCache>
                <c:ptCount val="33"/>
                <c:pt idx="0">
                  <c:v>13.57</c:v>
                </c:pt>
                <c:pt idx="1">
                  <c:v>13.77</c:v>
                </c:pt>
                <c:pt idx="2">
                  <c:v>13.97</c:v>
                </c:pt>
                <c:pt idx="3">
                  <c:v>14.17</c:v>
                </c:pt>
                <c:pt idx="4">
                  <c:v>14.37</c:v>
                </c:pt>
                <c:pt idx="5">
                  <c:v>14.57</c:v>
                </c:pt>
                <c:pt idx="6">
                  <c:v>14.77</c:v>
                </c:pt>
                <c:pt idx="7">
                  <c:v>14.97</c:v>
                </c:pt>
                <c:pt idx="8">
                  <c:v>15.17</c:v>
                </c:pt>
                <c:pt idx="9">
                  <c:v>15.37</c:v>
                </c:pt>
                <c:pt idx="10">
                  <c:v>15.57</c:v>
                </c:pt>
                <c:pt idx="11">
                  <c:v>15.77</c:v>
                </c:pt>
                <c:pt idx="12">
                  <c:v>15.97</c:v>
                </c:pt>
                <c:pt idx="13">
                  <c:v>16.17</c:v>
                </c:pt>
                <c:pt idx="14">
                  <c:v>16.37</c:v>
                </c:pt>
                <c:pt idx="15">
                  <c:v>16.57</c:v>
                </c:pt>
                <c:pt idx="16">
                  <c:v>16.77</c:v>
                </c:pt>
                <c:pt idx="17">
                  <c:v>16.97</c:v>
                </c:pt>
                <c:pt idx="18">
                  <c:v>17.17</c:v>
                </c:pt>
                <c:pt idx="19">
                  <c:v>17.37</c:v>
                </c:pt>
                <c:pt idx="20">
                  <c:v>17.57</c:v>
                </c:pt>
                <c:pt idx="21">
                  <c:v>17.77</c:v>
                </c:pt>
                <c:pt idx="22">
                  <c:v>17.97</c:v>
                </c:pt>
                <c:pt idx="23">
                  <c:v>18.17</c:v>
                </c:pt>
                <c:pt idx="24">
                  <c:v>18.37</c:v>
                </c:pt>
                <c:pt idx="25">
                  <c:v>18.57</c:v>
                </c:pt>
                <c:pt idx="26">
                  <c:v>18.77</c:v>
                </c:pt>
                <c:pt idx="27">
                  <c:v>18.97</c:v>
                </c:pt>
                <c:pt idx="28">
                  <c:v>19.17</c:v>
                </c:pt>
                <c:pt idx="29">
                  <c:v>19.37</c:v>
                </c:pt>
                <c:pt idx="30">
                  <c:v>19.57</c:v>
                </c:pt>
                <c:pt idx="31">
                  <c:v>19.77</c:v>
                </c:pt>
                <c:pt idx="32">
                  <c:v>19.97</c:v>
                </c:pt>
              </c:strCache>
            </c:strRef>
          </c:cat>
          <c:val>
            <c:numRef>
              <c:f>Sheet1!$C$2:$C$34</c:f>
              <c:numCache>
                <c:formatCode>General</c:formatCode>
                <c:ptCount val="33"/>
                <c:pt idx="0">
                  <c:v>94.710831658920895</c:v>
                </c:pt>
                <c:pt idx="1">
                  <c:v>95.268689154363344</c:v>
                </c:pt>
                <c:pt idx="2">
                  <c:v>95.813291204097411</c:v>
                </c:pt>
                <c:pt idx="3">
                  <c:v>96.344915321862359</c:v>
                </c:pt>
                <c:pt idx="4">
                  <c:v>96.863831679774009</c:v>
                </c:pt>
                <c:pt idx="5">
                  <c:v>97.370303331785536</c:v>
                </c:pt>
                <c:pt idx="6">
                  <c:v>97.864586431174928</c:v>
                </c:pt>
                <c:pt idx="7">
                  <c:v>98.346930442109453</c:v>
                </c:pt>
                <c:pt idx="8">
                  <c:v>98.698926122075576</c:v>
                </c:pt>
                <c:pt idx="9">
                  <c:v>99.039954326830966</c:v>
                </c:pt>
                <c:pt idx="10">
                  <c:v>99.370296186404431</c:v>
                </c:pt>
                <c:pt idx="11">
                  <c:v>99.690223692377685</c:v>
                </c:pt>
                <c:pt idx="12">
                  <c:v>100</c:v>
                </c:pt>
                <c:pt idx="13">
                  <c:v>99.652751861187809</c:v>
                </c:pt>
                <c:pt idx="14">
                  <c:v>99.311807499746465</c:v>
                </c:pt>
                <c:pt idx="15">
                  <c:v>98.977391933988031</c:v>
                </c:pt>
                <c:pt idx="16">
                  <c:v>98.649684529405008</c:v>
                </c:pt>
                <c:pt idx="17">
                  <c:v>98.328823456441896</c:v>
                </c:pt>
                <c:pt idx="18">
                  <c:v>98.01490950037477</c:v>
                </c:pt>
                <c:pt idx="19">
                  <c:v>97.70800934622163</c:v>
                </c:pt>
                <c:pt idx="20">
                  <c:v>97.408158447440812</c:v>
                </c:pt>
                <c:pt idx="21">
                  <c:v>97.115363572333365</c:v>
                </c:pt>
                <c:pt idx="22">
                  <c:v>96.82960510705206</c:v>
                </c:pt>
                <c:pt idx="23">
                  <c:v>96.550839179560271</c:v>
                </c:pt>
                <c:pt idx="24">
                  <c:v>96.278999655059181</c:v>
                </c:pt>
                <c:pt idx="25">
                  <c:v>96.01400004075829</c:v>
                </c:pt>
                <c:pt idx="26">
                  <c:v>96.353352641196963</c:v>
                </c:pt>
                <c:pt idx="27">
                  <c:v>96.684961698294359</c:v>
                </c:pt>
                <c:pt idx="28">
                  <c:v>97.008960570731929</c:v>
                </c:pt>
                <c:pt idx="29">
                  <c:v>97.325480076253427</c:v>
                </c:pt>
                <c:pt idx="30">
                  <c:v>97.634648541562541</c:v>
                </c:pt>
                <c:pt idx="31">
                  <c:v>97.936591851331443</c:v>
                </c:pt>
                <c:pt idx="32">
                  <c:v>98.23143349632354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4</c:f>
              <c:strCache>
                <c:ptCount val="33"/>
                <c:pt idx="0">
                  <c:v>13.57</c:v>
                </c:pt>
                <c:pt idx="1">
                  <c:v>13.77</c:v>
                </c:pt>
                <c:pt idx="2">
                  <c:v>13.97</c:v>
                </c:pt>
                <c:pt idx="3">
                  <c:v>14.17</c:v>
                </c:pt>
                <c:pt idx="4">
                  <c:v>14.37</c:v>
                </c:pt>
                <c:pt idx="5">
                  <c:v>14.57</c:v>
                </c:pt>
                <c:pt idx="6">
                  <c:v>14.77</c:v>
                </c:pt>
                <c:pt idx="7">
                  <c:v>14.97</c:v>
                </c:pt>
                <c:pt idx="8">
                  <c:v>15.17</c:v>
                </c:pt>
                <c:pt idx="9">
                  <c:v>15.37</c:v>
                </c:pt>
                <c:pt idx="10">
                  <c:v>15.57</c:v>
                </c:pt>
                <c:pt idx="11">
                  <c:v>15.77</c:v>
                </c:pt>
                <c:pt idx="12">
                  <c:v>15.97</c:v>
                </c:pt>
                <c:pt idx="13">
                  <c:v>16.17</c:v>
                </c:pt>
                <c:pt idx="14">
                  <c:v>16.37</c:v>
                </c:pt>
                <c:pt idx="15">
                  <c:v>16.57</c:v>
                </c:pt>
                <c:pt idx="16">
                  <c:v>16.77</c:v>
                </c:pt>
                <c:pt idx="17">
                  <c:v>16.97</c:v>
                </c:pt>
                <c:pt idx="18">
                  <c:v>17.17</c:v>
                </c:pt>
                <c:pt idx="19">
                  <c:v>17.37</c:v>
                </c:pt>
                <c:pt idx="20">
                  <c:v>17.57</c:v>
                </c:pt>
                <c:pt idx="21">
                  <c:v>17.77</c:v>
                </c:pt>
                <c:pt idx="22">
                  <c:v>17.97</c:v>
                </c:pt>
                <c:pt idx="23">
                  <c:v>18.17</c:v>
                </c:pt>
                <c:pt idx="24">
                  <c:v>18.37</c:v>
                </c:pt>
                <c:pt idx="25">
                  <c:v>18.57</c:v>
                </c:pt>
                <c:pt idx="26">
                  <c:v>18.77</c:v>
                </c:pt>
                <c:pt idx="27">
                  <c:v>18.97</c:v>
                </c:pt>
                <c:pt idx="28">
                  <c:v>19.17</c:v>
                </c:pt>
                <c:pt idx="29">
                  <c:v>19.37</c:v>
                </c:pt>
                <c:pt idx="30">
                  <c:v>19.57</c:v>
                </c:pt>
                <c:pt idx="31">
                  <c:v>19.77</c:v>
                </c:pt>
                <c:pt idx="32">
                  <c:v>19.97</c:v>
                </c:pt>
              </c:strCache>
            </c:strRef>
          </c:cat>
          <c:val>
            <c:numRef>
              <c:f>Sheet1!$D$2:$D$34</c:f>
              <c:numCache>
                <c:formatCode>General</c:formatCode>
                <c:ptCount val="33"/>
                <c:pt idx="0">
                  <c:v>87.648359356693433</c:v>
                </c:pt>
                <c:pt idx="1">
                  <c:v>88.847709796840846</c:v>
                </c:pt>
                <c:pt idx="2">
                  <c:v>90.02355963854734</c:v>
                </c:pt>
                <c:pt idx="3">
                  <c:v>91.176363869329194</c:v>
                </c:pt>
                <c:pt idx="4">
                  <c:v>92.306566650545008</c:v>
                </c:pt>
                <c:pt idx="5">
                  <c:v>93.414601595671613</c:v>
                </c:pt>
                <c:pt idx="6">
                  <c:v>94.500892043727319</c:v>
                </c:pt>
                <c:pt idx="7">
                  <c:v>95.565851327688961</c:v>
                </c:pt>
                <c:pt idx="8">
                  <c:v>96.494660546085726</c:v>
                </c:pt>
                <c:pt idx="9">
                  <c:v>97.40199218722006</c:v>
                </c:pt>
                <c:pt idx="10">
                  <c:v>98.288341012324182</c:v>
                </c:pt>
                <c:pt idx="11">
                  <c:v>99.1541878553126</c:v>
                </c:pt>
                <c:pt idx="12">
                  <c:v>100</c:v>
                </c:pt>
                <c:pt idx="13">
                  <c:v>100.17648796831149</c:v>
                </c:pt>
                <c:pt idx="14">
                  <c:v>100.34307852859408</c:v>
                </c:pt>
                <c:pt idx="15">
                  <c:v>100.5006743153787</c:v>
                </c:pt>
                <c:pt idx="16">
                  <c:v>100.6501044742927</c:v>
                </c:pt>
                <c:pt idx="17">
                  <c:v>100.79212965754382</c:v>
                </c:pt>
                <c:pt idx="18">
                  <c:v>100.92744645247238</c:v>
                </c:pt>
                <c:pt idx="19">
                  <c:v>101.05669134087178</c:v>
                </c:pt>
                <c:pt idx="20">
                  <c:v>101.18044427924244</c:v>
                </c:pt>
                <c:pt idx="21">
                  <c:v>101.29923198061685</c:v>
                </c:pt>
                <c:pt idx="22">
                  <c:v>101.41353096771262</c:v>
                </c:pt>
                <c:pt idx="23">
                  <c:v>101.52377045571185</c:v>
                </c:pt>
                <c:pt idx="24">
                  <c:v>101.63033511135767</c:v>
                </c:pt>
                <c:pt idx="25">
                  <c:v>101.73356772390285</c:v>
                </c:pt>
                <c:pt idx="26">
                  <c:v>102.46946739552638</c:v>
                </c:pt>
                <c:pt idx="27">
                  <c:v>103.19202764588363</c:v>
                </c:pt>
                <c:pt idx="28">
                  <c:v>103.90145938971538</c:v>
                </c:pt>
                <c:pt idx="29">
                  <c:v>104.59796989205716</c:v>
                </c:pt>
                <c:pt idx="30">
                  <c:v>105.2817628303934</c:v>
                </c:pt>
                <c:pt idx="31">
                  <c:v>105.95303835602152</c:v>
                </c:pt>
                <c:pt idx="32">
                  <c:v>106.6119931546119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4</c:f>
              <c:strCache>
                <c:ptCount val="33"/>
                <c:pt idx="0">
                  <c:v>13.57</c:v>
                </c:pt>
                <c:pt idx="1">
                  <c:v>13.77</c:v>
                </c:pt>
                <c:pt idx="2">
                  <c:v>13.97</c:v>
                </c:pt>
                <c:pt idx="3">
                  <c:v>14.17</c:v>
                </c:pt>
                <c:pt idx="4">
                  <c:v>14.37</c:v>
                </c:pt>
                <c:pt idx="5">
                  <c:v>14.57</c:v>
                </c:pt>
                <c:pt idx="6">
                  <c:v>14.77</c:v>
                </c:pt>
                <c:pt idx="7">
                  <c:v>14.97</c:v>
                </c:pt>
                <c:pt idx="8">
                  <c:v>15.17</c:v>
                </c:pt>
                <c:pt idx="9">
                  <c:v>15.37</c:v>
                </c:pt>
                <c:pt idx="10">
                  <c:v>15.57</c:v>
                </c:pt>
                <c:pt idx="11">
                  <c:v>15.77</c:v>
                </c:pt>
                <c:pt idx="12">
                  <c:v>15.97</c:v>
                </c:pt>
                <c:pt idx="13">
                  <c:v>16.17</c:v>
                </c:pt>
                <c:pt idx="14">
                  <c:v>16.37</c:v>
                </c:pt>
                <c:pt idx="15">
                  <c:v>16.57</c:v>
                </c:pt>
                <c:pt idx="16">
                  <c:v>16.77</c:v>
                </c:pt>
                <c:pt idx="17">
                  <c:v>16.97</c:v>
                </c:pt>
                <c:pt idx="18">
                  <c:v>17.17</c:v>
                </c:pt>
                <c:pt idx="19">
                  <c:v>17.37</c:v>
                </c:pt>
                <c:pt idx="20">
                  <c:v>17.57</c:v>
                </c:pt>
                <c:pt idx="21">
                  <c:v>17.77</c:v>
                </c:pt>
                <c:pt idx="22">
                  <c:v>17.97</c:v>
                </c:pt>
                <c:pt idx="23">
                  <c:v>18.17</c:v>
                </c:pt>
                <c:pt idx="24">
                  <c:v>18.37</c:v>
                </c:pt>
                <c:pt idx="25">
                  <c:v>18.57</c:v>
                </c:pt>
                <c:pt idx="26">
                  <c:v>18.77</c:v>
                </c:pt>
                <c:pt idx="27">
                  <c:v>18.97</c:v>
                </c:pt>
                <c:pt idx="28">
                  <c:v>19.17</c:v>
                </c:pt>
                <c:pt idx="29">
                  <c:v>19.37</c:v>
                </c:pt>
                <c:pt idx="30">
                  <c:v>19.57</c:v>
                </c:pt>
                <c:pt idx="31">
                  <c:v>19.77</c:v>
                </c:pt>
                <c:pt idx="32">
                  <c:v>19.97</c:v>
                </c:pt>
              </c:strCache>
            </c:strRef>
          </c:cat>
          <c:val>
            <c:numRef>
              <c:f>Sheet1!$E$2:$E$34</c:f>
              <c:numCache>
                <c:formatCode>General</c:formatCode>
                <c:ptCount val="33"/>
                <c:pt idx="0">
                  <c:v>0.65982868274268291</c:v>
                </c:pt>
                <c:pt idx="1">
                  <c:v>0.66476944261570126</c:v>
                </c:pt>
                <c:pt idx="2">
                  <c:v>0.66956873477582013</c:v>
                </c:pt>
                <c:pt idx="3">
                  <c:v>0.6742325493873117</c:v>
                </c:pt>
                <c:pt idx="4">
                  <c:v>0.67876654313279094</c:v>
                </c:pt>
                <c:pt idx="5">
                  <c:v>0.68317606210145554</c:v>
                </c:pt>
                <c:pt idx="6">
                  <c:v>0.68746616281775252</c:v>
                </c:pt>
                <c:pt idx="7">
                  <c:v>0.69164163158438252</c:v>
                </c:pt>
                <c:pt idx="8">
                  <c:v>0.69570700229520155</c:v>
                </c:pt>
                <c:pt idx="9">
                  <c:v>0.69966657285739786</c:v>
                </c:pt>
                <c:pt idx="10">
                  <c:v>0.70352442034799012</c:v>
                </c:pt>
                <c:pt idx="11">
                  <c:v>0.70728441501700745</c:v>
                </c:pt>
                <c:pt idx="12">
                  <c:v>0.71095023323846007</c:v>
                </c:pt>
                <c:pt idx="13">
                  <c:v>0.71452536950019829</c:v>
                </c:pt>
                <c:pt idx="14">
                  <c:v>0.7180131475148569</c:v>
                </c:pt>
                <c:pt idx="15">
                  <c:v>0.72141673052614397</c:v>
                </c:pt>
                <c:pt idx="16">
                  <c:v>0.72473913087765085</c:v>
                </c:pt>
                <c:pt idx="17">
                  <c:v>0.72798321890502105</c:v>
                </c:pt>
                <c:pt idx="18">
                  <c:v>0.73115173120665145</c:v>
                </c:pt>
                <c:pt idx="19">
                  <c:v>0.73424727834301706</c:v>
                </c:pt>
                <c:pt idx="20">
                  <c:v>0.73727235201014274</c:v>
                </c:pt>
                <c:pt idx="21">
                  <c:v>0.74022933172865546</c:v>
                </c:pt>
                <c:pt idx="22">
                  <c:v>0.74312049108615497</c:v>
                </c:pt>
                <c:pt idx="23">
                  <c:v>0.74594800356732016</c:v>
                </c:pt>
                <c:pt idx="24">
                  <c:v>0.74871394800316859</c:v>
                </c:pt>
                <c:pt idx="25">
                  <c:v>0.75142031366818551</c:v>
                </c:pt>
                <c:pt idx="26">
                  <c:v>0.75406900505158259</c:v>
                </c:pt>
                <c:pt idx="27">
                  <c:v>0.75666184632673739</c:v>
                </c:pt>
                <c:pt idx="28">
                  <c:v>0.7592005855408559</c:v>
                </c:pt>
                <c:pt idx="29">
                  <c:v>0.76168689854508043</c:v>
                </c:pt>
                <c:pt idx="30">
                  <c:v>0.76412239268360793</c:v>
                </c:pt>
                <c:pt idx="31">
                  <c:v>0.7665086102588875</c:v>
                </c:pt>
                <c:pt idx="32">
                  <c:v>0.7688470317885932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Easy Fit 5 Blade Refills 8 Pa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Equate Easy Fit 5 Blade Refills 4 Pack (0.6%)</c:v>
                </c:pt>
                <c:pt idx="2">
                  <c:v>Gillette Fusion 5 Blade Refills 4 Pack (1.1%)</c:v>
                </c:pt>
                <c:pt idx="3">
                  <c:v>Equate Easy Fit 5 Blade Refills 12 Pack (0.4%)</c:v>
                </c:pt>
                <c:pt idx="4">
                  <c:v>Gillette Fusion 5 Proglide Blade Refills 4 Pack (1.2%)</c:v>
                </c:pt>
                <c:pt idx="5">
                  <c:v>Gillette Fusion 5 Blade Refills 12 Pack (0.9%)</c:v>
                </c:pt>
                <c:pt idx="6">
                  <c:v>Gillette Fusion 5 Proglide Blade Refills 8 Pack (1.0%)</c:v>
                </c:pt>
                <c:pt idx="7">
                  <c:v>Gillette Fusion 5 Proglide Blade Refills 12 Pack (0.8%)</c:v>
                </c:pt>
                <c:pt idx="8">
                  <c:v>None Razors (12.2%)</c:v>
                </c:pt>
                <c:pt idx="9">
                  <c:v>Gillette Mach 3 1 Handle + 2 Cartridges (2.7%)</c:v>
                </c:pt>
              </c:strCache>
            </c:strRef>
          </c:cat>
          <c:val>
            <c:numRef>
              <c:f>Sheet1!$B$2:$B$11</c:f>
              <c:numCache>
                <c:formatCode>General</c:formatCode>
                <c:ptCount val="10"/>
                <c:pt idx="0">
                  <c:v>0.27810434352164737</c:v>
                </c:pt>
                <c:pt idx="1">
                  <c:v>0.25996823967148092</c:v>
                </c:pt>
                <c:pt idx="2">
                  <c:v>0.18567466650527181</c:v>
                </c:pt>
                <c:pt idx="3">
                  <c:v>0.10636100653866441</c:v>
                </c:pt>
                <c:pt idx="4">
                  <c:v>5.1598655334601846E-2</c:v>
                </c:pt>
                <c:pt idx="5">
                  <c:v>4.7018172546877769E-2</c:v>
                </c:pt>
                <c:pt idx="6">
                  <c:v>4.3090133179219496E-2</c:v>
                </c:pt>
                <c:pt idx="7">
                  <c:v>2.7425680184552416E-2</c:v>
                </c:pt>
                <c:pt idx="8">
                  <c:v>1.3951568562687419E-3</c:v>
                </c:pt>
                <c:pt idx="9">
                  <c:v>3.9337751810391701E-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Easy Fit 5 Blade Refills 8 Pa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Easy Fit 5 Blade Refills 4 Pack (0.6%)</c:v>
                </c:pt>
                <c:pt idx="1">
                  <c:v>None Blades (83.2%)</c:v>
                </c:pt>
                <c:pt idx="2">
                  <c:v>Gillette Fusion 5 Blade Refills 4 Pack (1.1%)</c:v>
                </c:pt>
                <c:pt idx="3">
                  <c:v>Equate Easy Fit 5 Blade Refills 12 Pack (0.4%)</c:v>
                </c:pt>
                <c:pt idx="4">
                  <c:v>Gillette Fusion 5 Blade Refills 12 Pack (0.9%)</c:v>
                </c:pt>
                <c:pt idx="5">
                  <c:v>Gillette Fusion 5 Proglide Blade Refills 4 Pack (1.2%)</c:v>
                </c:pt>
                <c:pt idx="6">
                  <c:v>Gillette Fusion 5 Proglide Blade Refills 8 Pack (1.0%)</c:v>
                </c:pt>
                <c:pt idx="7">
                  <c:v>Gillette Fusion 5 Proglide Blade Refills 12 Pack (0.8%)</c:v>
                </c:pt>
                <c:pt idx="8">
                  <c:v>None Razors (12.2%)</c:v>
                </c:pt>
                <c:pt idx="9">
                  <c:v>Gillette Mach 3 1 Handle + 2 Cartridges (2.7%)</c:v>
                </c:pt>
              </c:strCache>
            </c:strRef>
          </c:cat>
          <c:val>
            <c:numRef>
              <c:f>Sheet1!$B$2:$B$11</c:f>
              <c:numCache>
                <c:formatCode>General</c:formatCode>
                <c:ptCount val="10"/>
                <c:pt idx="0">
                  <c:v>0.36783579757788848</c:v>
                </c:pt>
                <c:pt idx="1">
                  <c:v>0.22762037579546116</c:v>
                </c:pt>
                <c:pt idx="2">
                  <c:v>0.16595255588440735</c:v>
                </c:pt>
                <c:pt idx="3">
                  <c:v>0.12716181867649046</c:v>
                </c:pt>
                <c:pt idx="4">
                  <c:v>3.7190803618331984E-2</c:v>
                </c:pt>
                <c:pt idx="5">
                  <c:v>2.7876401989298687E-2</c:v>
                </c:pt>
                <c:pt idx="6">
                  <c:v>2.7070492615197506E-2</c:v>
                </c:pt>
                <c:pt idx="7">
                  <c:v>1.8765262345889898E-2</c:v>
                </c:pt>
                <c:pt idx="8">
                  <c:v>9.6761872192912277E-4</c:v>
                </c:pt>
                <c:pt idx="9">
                  <c:v>2.7284395729862063E-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strCache>
            </c:strRef>
          </c:cat>
          <c:val>
            <c:numRef>
              <c:f>Sheet1!$B$2:$B$32</c:f>
              <c:numCache>
                <c:formatCode>General</c:formatCode>
                <c:ptCount val="31"/>
                <c:pt idx="0">
                  <c:v>114.79805710513604</c:v>
                </c:pt>
                <c:pt idx="1">
                  <c:v>113.50005580388776</c:v>
                </c:pt>
                <c:pt idx="2">
                  <c:v>112.23446477850875</c:v>
                </c:pt>
                <c:pt idx="3">
                  <c:v>111.0000354375686</c:v>
                </c:pt>
                <c:pt idx="4">
                  <c:v>109.79556838069165</c:v>
                </c:pt>
                <c:pt idx="5">
                  <c:v>108.61991277460274</c:v>
                </c:pt>
                <c:pt idx="6">
                  <c:v>107.47196549623825</c:v>
                </c:pt>
                <c:pt idx="7">
                  <c:v>106.35067008829169</c:v>
                </c:pt>
                <c:pt idx="8">
                  <c:v>105.2550155659672</c:v>
                </c:pt>
                <c:pt idx="9">
                  <c:v>104.48138320107437</c:v>
                </c:pt>
                <c:pt idx="10">
                  <c:v>103.71553585954436</c:v>
                </c:pt>
                <c:pt idx="11">
                  <c:v>102.9573849879132</c:v>
                </c:pt>
                <c:pt idx="12">
                  <c:v>102.20684273530807</c:v>
                </c:pt>
                <c:pt idx="13">
                  <c:v>101.46382196702723</c:v>
                </c:pt>
                <c:pt idx="14">
                  <c:v>100.72823627711915</c:v>
                </c:pt>
                <c:pt idx="15">
                  <c:v>100</c:v>
                </c:pt>
                <c:pt idx="16">
                  <c:v>99.125447297167895</c:v>
                </c:pt>
                <c:pt idx="17">
                  <c:v>98.268965638346955</c:v>
                </c:pt>
                <c:pt idx="18">
                  <c:v>97.429969108884819</c:v>
                </c:pt>
                <c:pt idx="19">
                  <c:v>96.607895076060714</c:v>
                </c:pt>
                <c:pt idx="20">
                  <c:v>95.802203217047804</c:v>
                </c:pt>
                <c:pt idx="21">
                  <c:v>95.012374579838124</c:v>
                </c:pt>
                <c:pt idx="22">
                  <c:v>94.237910677602983</c:v>
                </c:pt>
                <c:pt idx="23">
                  <c:v>93.478332616632159</c:v>
                </c:pt>
                <c:pt idx="24">
                  <c:v>92.733180257741239</c:v>
                </c:pt>
                <c:pt idx="25">
                  <c:v>92.002011410797621</c:v>
                </c:pt>
                <c:pt idx="26">
                  <c:v>91.284401061867499</c:v>
                </c:pt>
                <c:pt idx="27">
                  <c:v>90.579940632312301</c:v>
                </c:pt>
                <c:pt idx="28">
                  <c:v>89.888237269082779</c:v>
                </c:pt>
                <c:pt idx="29">
                  <c:v>89.208913165352826</c:v>
                </c:pt>
                <c:pt idx="30">
                  <c:v>88.54160491057972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strCache>
            </c:strRef>
          </c:cat>
          <c:val>
            <c:numRef>
              <c:f>Sheet1!$C$2:$C$32</c:f>
              <c:numCache>
                <c:formatCode>General</c:formatCode>
                <c:ptCount val="31"/>
                <c:pt idx="0">
                  <c:v>97.782470766124447</c:v>
                </c:pt>
                <c:pt idx="1">
                  <c:v>97.80117927101422</c:v>
                </c:pt>
                <c:pt idx="2">
                  <c:v>97.822274178642914</c:v>
                </c:pt>
                <c:pt idx="3">
                  <c:v>97.845626457201234</c:v>
                </c:pt>
                <c:pt idx="4">
                  <c:v>97.871101042572789</c:v>
                </c:pt>
                <c:pt idx="5">
                  <c:v>97.898558730024547</c:v>
                </c:pt>
                <c:pt idx="6">
                  <c:v>97.927857816372978</c:v>
                </c:pt>
                <c:pt idx="7">
                  <c:v>97.95885551808081</c:v>
                </c:pt>
                <c:pt idx="8">
                  <c:v>97.991409188253996</c:v>
                </c:pt>
                <c:pt idx="9">
                  <c:v>98.301524993787282</c:v>
                </c:pt>
                <c:pt idx="10">
                  <c:v>98.603668116882886</c:v>
                </c:pt>
                <c:pt idx="11">
                  <c:v>98.897990357125536</c:v>
                </c:pt>
                <c:pt idx="12">
                  <c:v>99.184640437211513</c:v>
                </c:pt>
                <c:pt idx="13">
                  <c:v>99.463764060736622</c:v>
                </c:pt>
                <c:pt idx="14">
                  <c:v>99.735503969456758</c:v>
                </c:pt>
                <c:pt idx="15">
                  <c:v>100</c:v>
                </c:pt>
                <c:pt idx="16">
                  <c:v>100.1063951144983</c:v>
                </c:pt>
                <c:pt idx="17">
                  <c:v>100.2138254187695</c:v>
                </c:pt>
                <c:pt idx="18">
                  <c:v>100.3222272193365</c:v>
                </c:pt>
                <c:pt idx="19">
                  <c:v>100.43153771008251</c:v>
                </c:pt>
                <c:pt idx="20">
                  <c:v>100.54169511004076</c:v>
                </c:pt>
                <c:pt idx="21">
                  <c:v>100.65263877808451</c:v>
                </c:pt>
                <c:pt idx="22">
                  <c:v>100.76430930731686</c:v>
                </c:pt>
                <c:pt idx="23">
                  <c:v>100.87664860164492</c:v>
                </c:pt>
                <c:pt idx="24">
                  <c:v>100.98959993675626</c:v>
                </c:pt>
                <c:pt idx="25">
                  <c:v>101.10310800744438</c:v>
                </c:pt>
                <c:pt idx="26">
                  <c:v>101.21711896303734</c:v>
                </c:pt>
                <c:pt idx="27">
                  <c:v>101.33158043245099</c:v>
                </c:pt>
                <c:pt idx="28">
                  <c:v>101.44644154024279</c:v>
                </c:pt>
                <c:pt idx="29">
                  <c:v>101.56165291486197</c:v>
                </c:pt>
                <c:pt idx="30">
                  <c:v>101.6771666901598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strCache>
            </c:strRef>
          </c:cat>
          <c:val>
            <c:numRef>
              <c:f>Sheet1!$D$2:$D$32</c:f>
              <c:numCache>
                <c:formatCode>General</c:formatCode>
                <c:ptCount val="31"/>
                <c:pt idx="0">
                  <c:v>88.860323358274812</c:v>
                </c:pt>
                <c:pt idx="1">
                  <c:v>89.56721195202411</c:v>
                </c:pt>
                <c:pt idx="2">
                  <c:v>90.261061315708588</c:v>
                </c:pt>
                <c:pt idx="3">
                  <c:v>90.942310359602658</c:v>
                </c:pt>
                <c:pt idx="4">
                  <c:v>91.611364316041318</c:v>
                </c:pt>
                <c:pt idx="5">
                  <c:v>92.268597838923853</c:v>
                </c:pt>
                <c:pt idx="6">
                  <c:v>92.914357855180427</c:v>
                </c:pt>
                <c:pt idx="7">
                  <c:v>93.548966182382287</c:v>
                </c:pt>
                <c:pt idx="8">
                  <c:v>94.172721926377932</c:v>
                </c:pt>
                <c:pt idx="9">
                  <c:v>95.051837465528507</c:v>
                </c:pt>
                <c:pt idx="10">
                  <c:v>95.914969948412235</c:v>
                </c:pt>
                <c:pt idx="11">
                  <c:v>96.76238428873944</c:v>
                </c:pt>
                <c:pt idx="12">
                  <c:v>97.594340833446125</c:v>
                </c:pt>
                <c:pt idx="13">
                  <c:v>98.411095426334043</c:v>
                </c:pt>
                <c:pt idx="14">
                  <c:v>99.212899472001993</c:v>
                </c:pt>
                <c:pt idx="15">
                  <c:v>100</c:v>
                </c:pt>
                <c:pt idx="16">
                  <c:v>100.61970541769027</c:v>
                </c:pt>
                <c:pt idx="17">
                  <c:v>101.23168877291835</c:v>
                </c:pt>
                <c:pt idx="18">
                  <c:v>101.83615314843912</c:v>
                </c:pt>
                <c:pt idx="19">
                  <c:v>102.43329112310087</c:v>
                </c:pt>
                <c:pt idx="20">
                  <c:v>103.02328546827117</c:v>
                </c:pt>
                <c:pt idx="21">
                  <c:v>103.60630979359588</c:v>
                </c:pt>
                <c:pt idx="22">
                  <c:v>104.18252914595702</c:v>
                </c:pt>
                <c:pt idx="23">
                  <c:v>104.75210056519697</c:v>
                </c:pt>
                <c:pt idx="24">
                  <c:v>105.31517359991828</c:v>
                </c:pt>
                <c:pt idx="25">
                  <c:v>105.8718907863931</c:v>
                </c:pt>
                <c:pt idx="26">
                  <c:v>106.42238809340803</c:v>
                </c:pt>
                <c:pt idx="27">
                  <c:v>106.96679533561746</c:v>
                </c:pt>
                <c:pt idx="28">
                  <c:v>107.50523655780688</c:v>
                </c:pt>
                <c:pt idx="29">
                  <c:v>108.03783039225895</c:v>
                </c:pt>
                <c:pt idx="30">
                  <c:v>108.5646903912459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strCache>
            </c:strRef>
          </c:cat>
          <c:val>
            <c:numRef>
              <c:f>Sheet1!$E$2:$E$32</c:f>
              <c:numCache>
                <c:formatCode>General</c:formatCode>
                <c:ptCount val="31"/>
                <c:pt idx="0">
                  <c:v>0.60846545936378527</c:v>
                </c:pt>
                <c:pt idx="1">
                  <c:v>0.6130261412582082</c:v>
                </c:pt>
                <c:pt idx="2">
                  <c:v>0.61748179881424492</c:v>
                </c:pt>
                <c:pt idx="3">
                  <c:v>0.62183601852040049</c:v>
                </c:pt>
                <c:pt idx="4">
                  <c:v>0.62609222540255693</c:v>
                </c:pt>
                <c:pt idx="5">
                  <c:v>0.63025369200909498</c:v>
                </c:pt>
                <c:pt idx="6">
                  <c:v>0.63432354680261072</c:v>
                </c:pt>
                <c:pt idx="7">
                  <c:v>0.63830478200345331</c:v>
                </c:pt>
                <c:pt idx="8">
                  <c:v>0.64220026092641014</c:v>
                </c:pt>
                <c:pt idx="9">
                  <c:v>0.64601272484834504</c:v>
                </c:pt>
                <c:pt idx="10">
                  <c:v>0.64974479944140417</c:v>
                </c:pt>
                <c:pt idx="11">
                  <c:v>0.65339900080351776</c:v>
                </c:pt>
                <c:pt idx="12">
                  <c:v>0.65697774111530394</c:v>
                </c:pt>
                <c:pt idx="13">
                  <c:v>0.66048333395009884</c:v>
                </c:pt>
                <c:pt idx="14">
                  <c:v>0.66391799926168116</c:v>
                </c:pt>
                <c:pt idx="15">
                  <c:v>0.66728386807228024</c:v>
                </c:pt>
                <c:pt idx="16">
                  <c:v>0.67058298688167739</c:v>
                </c:pt>
                <c:pt idx="17">
                  <c:v>0.67381732181656517</c:v>
                </c:pt>
                <c:pt idx="18">
                  <c:v>0.67698876253784324</c:v>
                </c:pt>
                <c:pt idx="19">
                  <c:v>0.68009912592216826</c:v>
                </c:pt>
                <c:pt idx="20">
                  <c:v>0.68315015953282954</c:v>
                </c:pt>
                <c:pt idx="21">
                  <c:v>0.68614354489387985</c:v>
                </c:pt>
                <c:pt idx="22">
                  <c:v>0.68908090058041349</c:v>
                </c:pt>
                <c:pt idx="23">
                  <c:v>0.69196378513692325</c:v>
                </c:pt>
                <c:pt idx="24">
                  <c:v>0.69479369983479256</c:v>
                </c:pt>
                <c:pt idx="25">
                  <c:v>0.69757209127917319</c:v>
                </c:pt>
                <c:pt idx="26">
                  <c:v>0.7003003538747602</c:v>
                </c:pt>
                <c:pt idx="27">
                  <c:v>0.70297983215929527</c:v>
                </c:pt>
                <c:pt idx="28">
                  <c:v>0.70561182301300118</c:v>
                </c:pt>
                <c:pt idx="29">
                  <c:v>0.70819757775157832</c:v>
                </c:pt>
                <c:pt idx="30">
                  <c:v>0.7107383041098579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Easy Fit 5 Blade Refills 12 Pa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Gillette Fusion 5 Blade Refills 4 Pack (1.1%)</c:v>
                </c:pt>
                <c:pt idx="2">
                  <c:v>Equate Easy Fit 5 Blade Refills 4 Pack (0.6%)</c:v>
                </c:pt>
                <c:pt idx="3">
                  <c:v>Equate Easy Fit 5 Blade Refills 8 Pack (0.4%)</c:v>
                </c:pt>
                <c:pt idx="4">
                  <c:v>Gillette Fusion 5 Blade Refills 12 Pack (0.9%)</c:v>
                </c:pt>
                <c:pt idx="5">
                  <c:v>Gillette Fusion 5 Proglide Blade Refills 8 Pack (1.0%)</c:v>
                </c:pt>
                <c:pt idx="6">
                  <c:v>Gillette Fusion 5 Proglide Blade Refills 12 Pack (0.8%)</c:v>
                </c:pt>
                <c:pt idx="7">
                  <c:v>Gillette Fusion 5 Proglide Blade Refills 4 Pack (1.2%)</c:v>
                </c:pt>
                <c:pt idx="8">
                  <c:v>None Razors (12.2%)</c:v>
                </c:pt>
                <c:pt idx="9">
                  <c:v>Gillette Mach 3 1 Handle + 2 Cartridges (2.7%)</c:v>
                </c:pt>
              </c:strCache>
            </c:strRef>
          </c:cat>
          <c:val>
            <c:numRef>
              <c:f>Sheet1!$B$2:$B$11</c:f>
              <c:numCache>
                <c:formatCode>General</c:formatCode>
                <c:ptCount val="10"/>
                <c:pt idx="0">
                  <c:v>0.30843090016880575</c:v>
                </c:pt>
                <c:pt idx="1">
                  <c:v>0.16212227888805264</c:v>
                </c:pt>
                <c:pt idx="2">
                  <c:v>0.15418391226516343</c:v>
                </c:pt>
                <c:pt idx="3">
                  <c:v>0.13053138987153706</c:v>
                </c:pt>
                <c:pt idx="4">
                  <c:v>0.11393642157577384</c:v>
                </c:pt>
                <c:pt idx="5">
                  <c:v>4.8160327244894253E-2</c:v>
                </c:pt>
                <c:pt idx="6">
                  <c:v>4.1327118375641493E-2</c:v>
                </c:pt>
                <c:pt idx="7">
                  <c:v>4.058367048215903E-2</c:v>
                </c:pt>
                <c:pt idx="8">
                  <c:v>1.3306101303444139E-3</c:v>
                </c:pt>
                <c:pt idx="9">
                  <c:v>3.7517592402921984E-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Easy Fit 5 Blade Refills 12 Pa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Equate Easy Fit 5 Blade Refills 4 Pack (0.6%)</c:v>
                </c:pt>
                <c:pt idx="2">
                  <c:v>Gillette Fusion 5 Blade Refills 4 Pack (1.1%)</c:v>
                </c:pt>
                <c:pt idx="3">
                  <c:v>Equate Easy Fit 5 Blade Refills 8 Pack (0.4%)</c:v>
                </c:pt>
                <c:pt idx="4">
                  <c:v>Gillette Fusion 5 Blade Refills 12 Pack (0.9%)</c:v>
                </c:pt>
                <c:pt idx="5">
                  <c:v>Gillette Fusion 5 Proglide Blade Refills 4 Pack (1.2%)</c:v>
                </c:pt>
                <c:pt idx="6">
                  <c:v>Gillette Fusion 5 Proglide Blade Refills 8 Pack (1.0%)</c:v>
                </c:pt>
                <c:pt idx="7">
                  <c:v>Gillette Fusion 5 Proglide Blade Refills 12 Pack (0.8%)</c:v>
                </c:pt>
                <c:pt idx="8">
                  <c:v>None Razors (12.2%)</c:v>
                </c:pt>
                <c:pt idx="9">
                  <c:v>Gillette Mach 3 1 Handle + 2 Cartridges (2.7%)</c:v>
                </c:pt>
              </c:strCache>
            </c:strRef>
          </c:cat>
          <c:val>
            <c:numRef>
              <c:f>Sheet1!$B$2:$B$11</c:f>
              <c:numCache>
                <c:formatCode>General</c:formatCode>
                <c:ptCount val="10"/>
                <c:pt idx="0">
                  <c:v>0.34009935467694002</c:v>
                </c:pt>
                <c:pt idx="1">
                  <c:v>0.19479956240640769</c:v>
                </c:pt>
                <c:pt idx="2">
                  <c:v>0.18705357207559783</c:v>
                </c:pt>
                <c:pt idx="3">
                  <c:v>0.14553885713825163</c:v>
                </c:pt>
                <c:pt idx="4">
                  <c:v>4.9238845196010662E-2</c:v>
                </c:pt>
                <c:pt idx="5">
                  <c:v>3.4880390663376198E-2</c:v>
                </c:pt>
                <c:pt idx="6">
                  <c:v>2.9850464858239618E-2</c:v>
                </c:pt>
                <c:pt idx="7">
                  <c:v>1.7722889181028142E-2</c:v>
                </c:pt>
                <c:pt idx="8">
                  <c:v>1.4998076289978795E-3</c:v>
                </c:pt>
                <c:pt idx="9">
                  <c:v>4.2291119139731238E-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Van Der Hagen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arrys (11.2%)</c:v>
                </c:pt>
                <c:pt idx="1">
                  <c:v>Gillette (38.7%)</c:v>
                </c:pt>
                <c:pt idx="2">
                  <c:v>Bic (16.9%)</c:v>
                </c:pt>
                <c:pt idx="3">
                  <c:v>Equate (21.7%)</c:v>
                </c:pt>
                <c:pt idx="4">
                  <c:v>Schick (11.2%)</c:v>
                </c:pt>
                <c:pt idx="5">
                  <c:v>Dollar Shave Club (2.9%)</c:v>
                </c:pt>
              </c:strCache>
            </c:strRef>
          </c:cat>
          <c:val>
            <c:numRef>
              <c:f>Sheet1!$B$2:$B$7</c:f>
              <c:numCache>
                <c:formatCode>General</c:formatCode>
                <c:ptCount val="6"/>
                <c:pt idx="0">
                  <c:v>0.22428537302610649</c:v>
                </c:pt>
                <c:pt idx="1">
                  <c:v>0.20679620643313548</c:v>
                </c:pt>
                <c:pt idx="2">
                  <c:v>7.0323589142341048E-2</c:v>
                </c:pt>
                <c:pt idx="3">
                  <c:v>5.1517108016998145E-2</c:v>
                </c:pt>
                <c:pt idx="4">
                  <c:v>4.4064261440899012E-2</c:v>
                </c:pt>
                <c:pt idx="5">
                  <c:v>3.307743660871060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5 Blade Sensitive 1 Handle + 3 Cartridges Restage</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4700000000000006</c:v>
                </c:pt>
                <c:pt idx="1">
                  <c:v>8.9700000000000006</c:v>
                </c:pt>
                <c:pt idx="2">
                  <c:v>9.9700000000000006</c:v>
                </c:pt>
                <c:pt idx="3">
                  <c:v>10.97</c:v>
                </c:pt>
                <c:pt idx="4">
                  <c:v>12.47</c:v>
                </c:pt>
              </c:numCache>
            </c:numRef>
          </c:xVal>
          <c:yVal>
            <c:numRef>
              <c:f>Sheet1!$B$2:$B$6</c:f>
              <c:numCache>
                <c:formatCode>General</c:formatCode>
                <c:ptCount val="5"/>
                <c:pt idx="0">
                  <c:v>8.164650406607768E-2</c:v>
                </c:pt>
                <c:pt idx="1">
                  <c:v>4.018060075461187E-2</c:v>
                </c:pt>
                <c:pt idx="2">
                  <c:v>0</c:v>
                </c:pt>
                <c:pt idx="3">
                  <c:v>-0.15111676508231334</c:v>
                </c:pt>
                <c:pt idx="4">
                  <c:v>-0.24853998283893849</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5 Blade Sensitive 1 Handle + 5 Cartridges Restage</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2.57</c:v>
                </c:pt>
                <c:pt idx="1">
                  <c:v>13.47</c:v>
                </c:pt>
                <c:pt idx="2">
                  <c:v>14.97</c:v>
                </c:pt>
                <c:pt idx="3">
                  <c:v>15.97</c:v>
                </c:pt>
                <c:pt idx="4">
                  <c:v>18.57</c:v>
                </c:pt>
              </c:numCache>
            </c:numRef>
          </c:xVal>
          <c:yVal>
            <c:numRef>
              <c:f>Sheet1!$B$9:$B$13</c:f>
              <c:numCache>
                <c:formatCode>General</c:formatCode>
                <c:ptCount val="5"/>
                <c:pt idx="0">
                  <c:v>0.31222562712499791</c:v>
                </c:pt>
                <c:pt idx="1">
                  <c:v>8.4535659956966491E-2</c:v>
                </c:pt>
                <c:pt idx="2">
                  <c:v>0</c:v>
                </c:pt>
                <c:pt idx="3">
                  <c:v>-5.5547475425422613E-2</c:v>
                </c:pt>
                <c:pt idx="4">
                  <c:v>-0.13806276680339227</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Hydro 5 Blade Sensitive 1 Handle + 8 Cartridges Restage</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6.97</c:v>
                </c:pt>
                <c:pt idx="1">
                  <c:v>17.97</c:v>
                </c:pt>
                <c:pt idx="2">
                  <c:v>19.97</c:v>
                </c:pt>
                <c:pt idx="3">
                  <c:v>21.97</c:v>
                </c:pt>
                <c:pt idx="4">
                  <c:v>24.97</c:v>
                </c:pt>
              </c:numCache>
            </c:numRef>
          </c:xVal>
          <c:yVal>
            <c:numRef>
              <c:f>Sheet1!$B$16:$B$20</c:f>
              <c:numCache>
                <c:formatCode>General</c:formatCode>
                <c:ptCount val="5"/>
                <c:pt idx="0">
                  <c:v>7.930475986872923E-2</c:v>
                </c:pt>
                <c:pt idx="1">
                  <c:v>4.5699109362345114E-2</c:v>
                </c:pt>
                <c:pt idx="2">
                  <c:v>0</c:v>
                </c:pt>
                <c:pt idx="3">
                  <c:v>-3.6414654704396213E-2</c:v>
                </c:pt>
                <c:pt idx="4">
                  <c:v>-9.4767794542435002E-2</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Schick Hydro 5 Blade Sensitive Refills 6 Pack Restage</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2.57</c:v>
                </c:pt>
                <c:pt idx="1">
                  <c:v>13.47</c:v>
                </c:pt>
                <c:pt idx="2">
                  <c:v>14.97</c:v>
                </c:pt>
                <c:pt idx="3">
                  <c:v>15.97</c:v>
                </c:pt>
                <c:pt idx="4">
                  <c:v>18.57</c:v>
                </c:pt>
              </c:numCache>
            </c:numRef>
          </c:xVal>
          <c:yVal>
            <c:numRef>
              <c:f>Sheet1!$B$23:$B$27</c:f>
              <c:numCache>
                <c:formatCode>General</c:formatCode>
                <c:ptCount val="5"/>
                <c:pt idx="0">
                  <c:v>0.10223294976130348</c:v>
                </c:pt>
                <c:pt idx="1">
                  <c:v>5.8793152570543572E-2</c:v>
                </c:pt>
                <c:pt idx="2">
                  <c:v>0</c:v>
                </c:pt>
                <c:pt idx="3">
                  <c:v>-3.5856521242421051E-2</c:v>
                </c:pt>
                <c:pt idx="4">
                  <c:v>-0.18401678512537248</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Schick Hydro 5 Blade Sensitive Refills 12 Pack Restage</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22.97</c:v>
                </c:pt>
                <c:pt idx="1">
                  <c:v>23.97</c:v>
                </c:pt>
                <c:pt idx="2">
                  <c:v>26.97</c:v>
                </c:pt>
                <c:pt idx="3">
                  <c:v>29.67</c:v>
                </c:pt>
                <c:pt idx="4">
                  <c:v>34.169999999999995</c:v>
                </c:pt>
              </c:numCache>
            </c:numRef>
          </c:xVal>
          <c:yVal>
            <c:numRef>
              <c:f>Sheet1!$B$30:$B$34</c:f>
              <c:numCache>
                <c:formatCode>General</c:formatCode>
                <c:ptCount val="5"/>
                <c:pt idx="0">
                  <c:v>0.20242532026945445</c:v>
                </c:pt>
                <c:pt idx="1">
                  <c:v>0.15387605073624702</c:v>
                </c:pt>
                <c:pt idx="2">
                  <c:v>0</c:v>
                </c:pt>
                <c:pt idx="3">
                  <c:v>-6.5543698596583058E-2</c:v>
                </c:pt>
                <c:pt idx="4">
                  <c:v>-0.1623015721286888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4.169999999999995"/>
          <c:min val="8.4700000000000006"/>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Quattro Four Blade 1 Handle + 4 Cartriges Restage</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4700000000000006</c:v>
                </c:pt>
                <c:pt idx="1">
                  <c:v>8.9700000000000006</c:v>
                </c:pt>
                <c:pt idx="2">
                  <c:v>9.9700000000000006</c:v>
                </c:pt>
                <c:pt idx="3">
                  <c:v>10.97</c:v>
                </c:pt>
                <c:pt idx="4">
                  <c:v>12.47</c:v>
                </c:pt>
              </c:numCache>
            </c:numRef>
          </c:xVal>
          <c:yVal>
            <c:numRef>
              <c:f>Sheet1!$B$2:$B$6</c:f>
              <c:numCache>
                <c:formatCode>General</c:formatCode>
                <c:ptCount val="5"/>
                <c:pt idx="0">
                  <c:v>9.9393388492754614E-2</c:v>
                </c:pt>
                <c:pt idx="1">
                  <c:v>4.7372931690292754E-2</c:v>
                </c:pt>
                <c:pt idx="2">
                  <c:v>0</c:v>
                </c:pt>
                <c:pt idx="3">
                  <c:v>-0.1800828633528665</c:v>
                </c:pt>
                <c:pt idx="4">
                  <c:v>-0.290211103051033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Wilkinson Sword Classic Double Edge 1 Handle + 5 Cartridges Restage</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2.57</c:v>
                </c:pt>
                <c:pt idx="1">
                  <c:v>13.47</c:v>
                </c:pt>
                <c:pt idx="2">
                  <c:v>14.97</c:v>
                </c:pt>
                <c:pt idx="3">
                  <c:v>15.97</c:v>
                </c:pt>
                <c:pt idx="4">
                  <c:v>18.57</c:v>
                </c:pt>
              </c:numCache>
            </c:numRef>
          </c:xVal>
          <c:yVal>
            <c:numRef>
              <c:f>Sheet1!$B$9:$B$13</c:f>
              <c:numCache>
                <c:formatCode>General</c:formatCode>
                <c:ptCount val="5"/>
                <c:pt idx="0">
                  <c:v>0.21000797498020471</c:v>
                </c:pt>
                <c:pt idx="1">
                  <c:v>6.578456246870408E-2</c:v>
                </c:pt>
                <c:pt idx="2">
                  <c:v>0</c:v>
                </c:pt>
                <c:pt idx="3">
                  <c:v>-6.8599808101453177E-2</c:v>
                </c:pt>
                <c:pt idx="4">
                  <c:v>-0.141970630534999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Quattro Four Blade Refills 3 Pack Restage</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4.1700000000000008</c:v>
                </c:pt>
                <c:pt idx="1">
                  <c:v>4.37</c:v>
                </c:pt>
                <c:pt idx="2">
                  <c:v>4.97</c:v>
                </c:pt>
                <c:pt idx="3">
                  <c:v>5.4700000000000006</c:v>
                </c:pt>
                <c:pt idx="4">
                  <c:v>6.1700000000000008</c:v>
                </c:pt>
              </c:numCache>
            </c:numRef>
          </c:xVal>
          <c:yVal>
            <c:numRef>
              <c:f>Sheet1!$B$16:$B$20</c:f>
              <c:numCache>
                <c:formatCode>General</c:formatCode>
                <c:ptCount val="5"/>
                <c:pt idx="0">
                  <c:v>0.12152632962129994</c:v>
                </c:pt>
                <c:pt idx="1">
                  <c:v>9.0354461007066983E-2</c:v>
                </c:pt>
                <c:pt idx="2">
                  <c:v>0</c:v>
                </c:pt>
                <c:pt idx="3">
                  <c:v>-0.20326413159988527</c:v>
                </c:pt>
                <c:pt idx="4">
                  <c:v>-0.43172044245930791</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Schick Quattro Four Blade Refills 6 Pack Restage</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8.4700000000000006</c:v>
                </c:pt>
                <c:pt idx="1">
                  <c:v>8.9700000000000006</c:v>
                </c:pt>
                <c:pt idx="2">
                  <c:v>9.9700000000000006</c:v>
                </c:pt>
                <c:pt idx="3">
                  <c:v>10.97</c:v>
                </c:pt>
                <c:pt idx="4">
                  <c:v>11.97</c:v>
                </c:pt>
              </c:numCache>
            </c:numRef>
          </c:xVal>
          <c:yVal>
            <c:numRef>
              <c:f>Sheet1!$B$23:$B$27</c:f>
              <c:numCache>
                <c:formatCode>General</c:formatCode>
                <c:ptCount val="5"/>
                <c:pt idx="0">
                  <c:v>7.3188072993839254E-2</c:v>
                </c:pt>
                <c:pt idx="1">
                  <c:v>4.1960830651790619E-2</c:v>
                </c:pt>
                <c:pt idx="2">
                  <c:v>0</c:v>
                </c:pt>
                <c:pt idx="3">
                  <c:v>-8.4413353786412001E-2</c:v>
                </c:pt>
                <c:pt idx="4">
                  <c:v>-0.2019981544608446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8.57"/>
          <c:min val="4.1700000000000008"/>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Xtreme 2 Sensitive Disposable Razors 12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5.4700000000000006</c:v>
                </c:pt>
                <c:pt idx="1">
                  <c:v>5.7700000000000005</c:v>
                </c:pt>
                <c:pt idx="2">
                  <c:v>6.47</c:v>
                </c:pt>
                <c:pt idx="3">
                  <c:v>7.07</c:v>
                </c:pt>
                <c:pt idx="4">
                  <c:v>8.07</c:v>
                </c:pt>
              </c:numCache>
            </c:numRef>
          </c:xVal>
          <c:yVal>
            <c:numRef>
              <c:f>Sheet1!$B$2:$B$6</c:f>
              <c:numCache>
                <c:formatCode>General</c:formatCode>
                <c:ptCount val="5"/>
                <c:pt idx="0">
                  <c:v>8.8962325595247554E-2</c:v>
                </c:pt>
                <c:pt idx="1">
                  <c:v>5.924352356986351E-2</c:v>
                </c:pt>
                <c:pt idx="2">
                  <c:v>0</c:v>
                </c:pt>
                <c:pt idx="3">
                  <c:v>-0.13372384545213889</c:v>
                </c:pt>
                <c:pt idx="4">
                  <c:v>-0.2596342341028946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Xtreme 3 Sensitive Disposable Razors 4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5.4700000000000006</c:v>
                </c:pt>
                <c:pt idx="1">
                  <c:v>5.7700000000000005</c:v>
                </c:pt>
                <c:pt idx="2">
                  <c:v>6.47</c:v>
                </c:pt>
                <c:pt idx="3">
                  <c:v>7.07</c:v>
                </c:pt>
                <c:pt idx="4">
                  <c:v>8.07</c:v>
                </c:pt>
              </c:numCache>
            </c:numRef>
          </c:xVal>
          <c:yVal>
            <c:numRef>
              <c:f>Sheet1!$B$9:$B$13</c:f>
              <c:numCache>
                <c:formatCode>General</c:formatCode>
                <c:ptCount val="5"/>
                <c:pt idx="0">
                  <c:v>0.11237831809305171</c:v>
                </c:pt>
                <c:pt idx="1">
                  <c:v>7.4996932657072385E-2</c:v>
                </c:pt>
                <c:pt idx="2">
                  <c:v>0</c:v>
                </c:pt>
                <c:pt idx="3">
                  <c:v>-0.16904405688094434</c:v>
                </c:pt>
                <c:pt idx="4">
                  <c:v>-0.3449688865703182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8.07"/>
          <c:min val="5.4700000000000006"/>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Schick</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Gillet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B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5</c:f>
              <c:numCache>
                <c:formatCode>General</c:formatCode>
                <c:ptCount val="4"/>
                <c:pt idx="0">
                  <c:v>-0.82797272649941167</c:v>
                </c:pt>
                <c:pt idx="1">
                  <c:v>-0.16466784913380908</c:v>
                </c:pt>
                <c:pt idx="2">
                  <c:v>-0.75233309738644194</c:v>
                </c:pt>
                <c:pt idx="3">
                  <c:v>-0.45664615783361878</c:v>
                </c:pt>
              </c:numCache>
            </c:numRef>
          </c:xVal>
          <c:yVal>
            <c:numRef>
              <c:f>Sheet1!$B$2:$B$5</c:f>
              <c:numCache>
                <c:formatCode>General</c:formatCode>
                <c:ptCount val="4"/>
                <c:pt idx="0">
                  <c:v>-1.1520065140551621</c:v>
                </c:pt>
                <c:pt idx="1">
                  <c:v>-0.202928375687319</c:v>
                </c:pt>
                <c:pt idx="2">
                  <c:v>-0.63782461162670601</c:v>
                </c:pt>
                <c:pt idx="3">
                  <c:v>-0.42790860774898282</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B$2:$B$15</c:f>
              <c:numCache>
                <c:formatCode>General</c:formatCode>
                <c:ptCount val="14"/>
                <c:pt idx="0">
                  <c:v>108.89623255952483</c:v>
                </c:pt>
                <c:pt idx="1">
                  <c:v>106.88183612346236</c:v>
                </c:pt>
                <c:pt idx="2">
                  <c:v>104.99771635916828</c:v>
                </c:pt>
                <c:pt idx="3">
                  <c:v>103.23056139733487</c:v>
                </c:pt>
                <c:pt idx="4">
                  <c:v>101.56828427844727</c:v>
                </c:pt>
                <c:pt idx="5">
                  <c:v>100</c:v>
                </c:pt>
                <c:pt idx="6">
                  <c:v>94.94053439056367</c:v>
                </c:pt>
                <c:pt idx="7">
                  <c:v>90.515712042004111</c:v>
                </c:pt>
                <c:pt idx="8">
                  <c:v>86.627615454786095</c:v>
                </c:pt>
                <c:pt idx="9">
                  <c:v>83.789214877883595</c:v>
                </c:pt>
                <c:pt idx="10">
                  <c:v>81.125165059308941</c:v>
                </c:pt>
                <c:pt idx="11">
                  <c:v>78.620767948480875</c:v>
                </c:pt>
                <c:pt idx="12">
                  <c:v>76.26220556394324</c:v>
                </c:pt>
                <c:pt idx="13">
                  <c:v>74.03657658971059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C$2:$C$15</c:f>
              <c:numCache>
                <c:formatCode>General</c:formatCode>
                <c:ptCount val="14"/>
                <c:pt idx="0">
                  <c:v>92.35918395610679</c:v>
                </c:pt>
                <c:pt idx="1">
                  <c:v>93.902393590236272</c:v>
                </c:pt>
                <c:pt idx="2">
                  <c:v>95.438730753435323</c:v>
                </c:pt>
                <c:pt idx="3">
                  <c:v>96.967750148936076</c:v>
                </c:pt>
                <c:pt idx="4">
                  <c:v>98.488562516765185</c:v>
                </c:pt>
                <c:pt idx="5">
                  <c:v>100</c:v>
                </c:pt>
                <c:pt idx="6">
                  <c:v>97.829524987802145</c:v>
                </c:pt>
                <c:pt idx="7">
                  <c:v>96.023559489294598</c:v>
                </c:pt>
                <c:pt idx="8">
                  <c:v>94.533341404815388</c:v>
                </c:pt>
                <c:pt idx="9">
                  <c:v>93.976059160201046</c:v>
                </c:pt>
                <c:pt idx="10">
                  <c:v>93.447568175117553</c:v>
                </c:pt>
                <c:pt idx="11">
                  <c:v>92.946341664839608</c:v>
                </c:pt>
                <c:pt idx="12">
                  <c:v>92.470141709437385</c:v>
                </c:pt>
                <c:pt idx="13">
                  <c:v>92.01619859404206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D$2:$D$15</c:f>
              <c:numCache>
                <c:formatCode>General</c:formatCode>
                <c:ptCount val="14"/>
                <c:pt idx="0">
                  <c:v>86.945214563346852</c:v>
                </c:pt>
                <c:pt idx="1">
                  <c:v>89.645867142234664</c:v>
                </c:pt>
                <c:pt idx="2">
                  <c:v>92.298617186396626</c:v>
                </c:pt>
                <c:pt idx="3">
                  <c:v>94.906982673893552</c:v>
                </c:pt>
                <c:pt idx="4">
                  <c:v>97.473510412292768</c:v>
                </c:pt>
                <c:pt idx="5">
                  <c:v>100</c:v>
                </c:pt>
                <c:pt idx="6">
                  <c:v>98.768107356111031</c:v>
                </c:pt>
                <c:pt idx="7">
                  <c:v>97.814080322595657</c:v>
                </c:pt>
                <c:pt idx="8">
                  <c:v>97.104916465771367</c:v>
                </c:pt>
                <c:pt idx="9">
                  <c:v>97.30122366231727</c:v>
                </c:pt>
                <c:pt idx="10">
                  <c:v>97.478163839008545</c:v>
                </c:pt>
                <c:pt idx="11">
                  <c:v>97.638570693865063</c:v>
                </c:pt>
                <c:pt idx="12">
                  <c:v>97.784036121177593</c:v>
                </c:pt>
                <c:pt idx="13">
                  <c:v>97.91513601308142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E$2:$E$15</c:f>
              <c:numCache>
                <c:formatCode>General</c:formatCode>
                <c:ptCount val="14"/>
                <c:pt idx="0">
                  <c:v>0.72410857657082761</c:v>
                </c:pt>
                <c:pt idx="1">
                  <c:v>0.73384019644487253</c:v>
                </c:pt>
                <c:pt idx="2">
                  <c:v>0.74290867356770485</c:v>
                </c:pt>
                <c:pt idx="3">
                  <c:v>0.75137955746992213</c:v>
                </c:pt>
                <c:pt idx="4">
                  <c:v>0.75931003410565012</c:v>
                </c:pt>
                <c:pt idx="5">
                  <c:v>0.76675021852278624</c:v>
                </c:pt>
                <c:pt idx="6">
                  <c:v>0.77374421496887957</c:v>
                </c:pt>
                <c:pt idx="7">
                  <c:v>0.78033099182568089</c:v>
                </c:pt>
                <c:pt idx="8">
                  <c:v>0.78654510803994726</c:v>
                </c:pt>
                <c:pt idx="9">
                  <c:v>0.79241731964820183</c:v>
                </c:pt>
                <c:pt idx="10">
                  <c:v>0.79797508886779467</c:v>
                </c:pt>
                <c:pt idx="11">
                  <c:v>0.80324301353877792</c:v>
                </c:pt>
                <c:pt idx="12">
                  <c:v>0.80824319108544185</c:v>
                </c:pt>
                <c:pt idx="13">
                  <c:v>0.8129955283571781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2 Sensitive Disposable Razors 12 Pack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Equate 2 Blade Disposable Razors 5 Pack (5.5%)</c:v>
                </c:pt>
                <c:pt idx="2">
                  <c:v>Schick Xtreme 3 Sensitive Disposable Razors 4 Pack (2.8%)</c:v>
                </c:pt>
                <c:pt idx="3">
                  <c:v>Bic Men Sensitive Single Blade Disposable Razors 12 Pack (5.7%)</c:v>
                </c:pt>
                <c:pt idx="4">
                  <c:v>Equate Speed 3 Disposable Razors 4 Pack (2.3%)</c:v>
                </c:pt>
                <c:pt idx="5">
                  <c:v>Equate Caliber 5 Disposable Razors 3 Pack (2.2%)</c:v>
                </c:pt>
                <c:pt idx="6">
                  <c:v>Equate Caliber 3 Disposable Razors 3 Pack (1.4%)</c:v>
                </c:pt>
                <c:pt idx="7">
                  <c:v>None Razors (12.2%)</c:v>
                </c:pt>
                <c:pt idx="8">
                  <c:v>Equate Speed 3 Disposable Razors 8 Pack (1.9%)</c:v>
                </c:pt>
                <c:pt idx="9">
                  <c:v>Gillette Sensor 2 Plus Disposable Razors 10 Pack (2.2%)</c:v>
                </c:pt>
              </c:strCache>
            </c:strRef>
          </c:cat>
          <c:val>
            <c:numRef>
              <c:f>Sheet1!$B$2:$B$11</c:f>
              <c:numCache>
                <c:formatCode>General</c:formatCode>
                <c:ptCount val="10"/>
                <c:pt idx="0">
                  <c:v>0.14733982461159736</c:v>
                </c:pt>
                <c:pt idx="1">
                  <c:v>0.14723736933638751</c:v>
                </c:pt>
                <c:pt idx="2">
                  <c:v>8.6904051847841529E-2</c:v>
                </c:pt>
                <c:pt idx="3">
                  <c:v>7.6998679986089683E-2</c:v>
                </c:pt>
                <c:pt idx="4">
                  <c:v>6.7215545283215244E-2</c:v>
                </c:pt>
                <c:pt idx="5">
                  <c:v>4.8072719954797914E-2</c:v>
                </c:pt>
                <c:pt idx="6">
                  <c:v>3.8247280590387484E-2</c:v>
                </c:pt>
                <c:pt idx="7">
                  <c:v>3.4431517339801501E-2</c:v>
                </c:pt>
                <c:pt idx="8">
                  <c:v>3.176644608229471E-2</c:v>
                </c:pt>
                <c:pt idx="9">
                  <c:v>3.142428439786804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2 Sensitive Disposable Razors 12 Pack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Equate 2 Blade Disposable Razors 12 Pack (5.7%)</c:v>
                </c:pt>
                <c:pt idx="2">
                  <c:v>Equate 2 Blade Disposable Razors 5 Pack (5.5%)</c:v>
                </c:pt>
                <c:pt idx="3">
                  <c:v>Equate Speed 3 Disposable Razors 4 Pack (2.3%)</c:v>
                </c:pt>
                <c:pt idx="4">
                  <c:v>Bic Men Sensitive Single Blade Disposable Razors 12 Pack (5.7%)</c:v>
                </c:pt>
                <c:pt idx="5">
                  <c:v>Equate Speed 3 Disposable Razors 8 Pack (1.9%)</c:v>
                </c:pt>
                <c:pt idx="6">
                  <c:v>Equate Caliber 5 Disposable Razors 3 Pack (2.2%)</c:v>
                </c:pt>
                <c:pt idx="7">
                  <c:v>Equate Caliber 3 Disposable Razors 3 Pack (1.4%)</c:v>
                </c:pt>
                <c:pt idx="8">
                  <c:v>Schick Xtreme 3 Sensitive Disposable Razors 8 Pack (1.7%)</c:v>
                </c:pt>
                <c:pt idx="9">
                  <c:v>None Razors (12.2%)</c:v>
                </c:pt>
              </c:strCache>
            </c:strRef>
          </c:cat>
          <c:val>
            <c:numRef>
              <c:f>Sheet1!$B$2:$B$11</c:f>
              <c:numCache>
                <c:formatCode>General</c:formatCode>
                <c:ptCount val="10"/>
                <c:pt idx="0">
                  <c:v>0.16331423172078668</c:v>
                </c:pt>
                <c:pt idx="1">
                  <c:v>8.4945637623007081E-2</c:v>
                </c:pt>
                <c:pt idx="2">
                  <c:v>8.3950312091320076E-2</c:v>
                </c:pt>
                <c:pt idx="3">
                  <c:v>8.1371182710495205E-2</c:v>
                </c:pt>
                <c:pt idx="4">
                  <c:v>6.6833280624295374E-2</c:v>
                </c:pt>
                <c:pt idx="5">
                  <c:v>5.2992793714578774E-2</c:v>
                </c:pt>
                <c:pt idx="6">
                  <c:v>5.022993305394137E-2</c:v>
                </c:pt>
                <c:pt idx="7">
                  <c:v>3.6044726251284624E-2</c:v>
                </c:pt>
                <c:pt idx="8">
                  <c:v>3.492194205287296E-2</c:v>
                </c:pt>
                <c:pt idx="9">
                  <c:v>3.280592770960259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B$2:$B$15</c:f>
              <c:numCache>
                <c:formatCode>General</c:formatCode>
                <c:ptCount val="14"/>
                <c:pt idx="0">
                  <c:v>111.23783180930519</c:v>
                </c:pt>
                <c:pt idx="1">
                  <c:v>108.70585035906866</c:v>
                </c:pt>
                <c:pt idx="2">
                  <c:v>106.33080649314759</c:v>
                </c:pt>
                <c:pt idx="3">
                  <c:v>104.09737694490416</c:v>
                </c:pt>
                <c:pt idx="4">
                  <c:v>101.99139378866342</c:v>
                </c:pt>
                <c:pt idx="5">
                  <c:v>100</c:v>
                </c:pt>
                <c:pt idx="6">
                  <c:v>93.502395325863034</c:v>
                </c:pt>
                <c:pt idx="7">
                  <c:v>87.927160054641433</c:v>
                </c:pt>
                <c:pt idx="8">
                  <c:v>83.095594311905558</c:v>
                </c:pt>
                <c:pt idx="9">
                  <c:v>79.097243388101319</c:v>
                </c:pt>
                <c:pt idx="10">
                  <c:v>75.35247453029524</c:v>
                </c:pt>
                <c:pt idx="11">
                  <c:v>71.847818398322786</c:v>
                </c:pt>
                <c:pt idx="12">
                  <c:v>68.569393882265089</c:v>
                </c:pt>
                <c:pt idx="13">
                  <c:v>65.50311134296819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C$2:$C$15</c:f>
              <c:numCache>
                <c:formatCode>General</c:formatCode>
                <c:ptCount val="14"/>
                <c:pt idx="0">
                  <c:v>94.380984801589079</c:v>
                </c:pt>
                <c:pt idx="1">
                  <c:v>95.532059469519595</c:v>
                </c:pt>
                <c:pt idx="2">
                  <c:v>96.669744793369688</c:v>
                </c:pt>
                <c:pt idx="3">
                  <c:v>97.794139649059986</c:v>
                </c:pt>
                <c:pt idx="4">
                  <c:v>98.904585423722352</c:v>
                </c:pt>
                <c:pt idx="5">
                  <c:v>100</c:v>
                </c:pt>
                <c:pt idx="6">
                  <c:v>96.340278394666967</c:v>
                </c:pt>
                <c:pt idx="7">
                  <c:v>93.264832584405681</c:v>
                </c:pt>
                <c:pt idx="8">
                  <c:v>90.662522138189701</c:v>
                </c:pt>
                <c:pt idx="9">
                  <c:v>88.69408344793807</c:v>
                </c:pt>
                <c:pt idx="10">
                  <c:v>86.776896898386596</c:v>
                </c:pt>
                <c:pt idx="11">
                  <c:v>84.917850624340588</c:v>
                </c:pt>
                <c:pt idx="12">
                  <c:v>83.121724748194154</c:v>
                </c:pt>
                <c:pt idx="13">
                  <c:v>81.39138358883862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D$2:$D$15</c:f>
              <c:numCache>
                <c:formatCode>General</c:formatCode>
                <c:ptCount val="14"/>
                <c:pt idx="0">
                  <c:v>83.454954676828038</c:v>
                </c:pt>
                <c:pt idx="1">
                  <c:v>86.98546091972824</c:v>
                </c:pt>
                <c:pt idx="2">
                  <c:v>90.396430476574409</c:v>
                </c:pt>
                <c:pt idx="3">
                  <c:v>93.697589079813866</c:v>
                </c:pt>
                <c:pt idx="4">
                  <c:v>96.896698366950758</c:v>
                </c:pt>
                <c:pt idx="5">
                  <c:v>100</c:v>
                </c:pt>
                <c:pt idx="6">
                  <c:v>98.173046521913108</c:v>
                </c:pt>
                <c:pt idx="7">
                  <c:v>96.711471811431338</c:v>
                </c:pt>
                <c:pt idx="8">
                  <c:v>95.548019801331776</c:v>
                </c:pt>
                <c:pt idx="9">
                  <c:v>94.901571529530798</c:v>
                </c:pt>
                <c:pt idx="10">
                  <c:v>94.172587323325914</c:v>
                </c:pt>
                <c:pt idx="11">
                  <c:v>93.381561855880719</c:v>
                </c:pt>
                <c:pt idx="12">
                  <c:v>92.54574275576087</c:v>
                </c:pt>
                <c:pt idx="13">
                  <c:v>91.67931222191295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E$2:$E$15</c:f>
              <c:numCache>
                <c:formatCode>General</c:formatCode>
                <c:ptCount val="14"/>
                <c:pt idx="0">
                  <c:v>0.54914569205152219</c:v>
                </c:pt>
                <c:pt idx="1">
                  <c:v>0.56504884224370844</c:v>
                </c:pt>
                <c:pt idx="2">
                  <c:v>0.57986830247390575</c:v>
                </c:pt>
                <c:pt idx="3">
                  <c:v>0.59371119201348055</c:v>
                </c:pt>
                <c:pt idx="4">
                  <c:v>0.60667096260316222</c:v>
                </c:pt>
                <c:pt idx="5">
                  <c:v>0.61882951089981875</c:v>
                </c:pt>
                <c:pt idx="6">
                  <c:v>0.63025891087283759</c:v>
                </c:pt>
                <c:pt idx="7">
                  <c:v>0.64102284359851924</c:v>
                </c:pt>
                <c:pt idx="8">
                  <c:v>0.65117778437366713</c:v>
                </c:pt>
                <c:pt idx="9">
                  <c:v>0.66077399388195701</c:v>
                </c:pt>
                <c:pt idx="10">
                  <c:v>0.66985635013679068</c:v>
                </c:pt>
                <c:pt idx="11">
                  <c:v>0.67846505026360193</c:v>
                </c:pt>
                <c:pt idx="12">
                  <c:v>0.68663620527596281</c:v>
                </c:pt>
                <c:pt idx="13">
                  <c:v>0.694402346409148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3 Sensitive Disposable Razors 4 Pack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Speed 3 Disposable Razors 4 Pack (2.3%)</c:v>
                </c:pt>
                <c:pt idx="1">
                  <c:v>Equate 2 Blade Disposable Razors 5 Pack (5.5%)</c:v>
                </c:pt>
                <c:pt idx="2">
                  <c:v>Equate 2 Blade Disposable Razors 12 Pack (5.7%)</c:v>
                </c:pt>
                <c:pt idx="3">
                  <c:v>Schick Xtreme 2 Sensitive Disposable Razors 12 Pack (2.7%)</c:v>
                </c:pt>
                <c:pt idx="4">
                  <c:v>Equate Caliber 5 Disposable Razors 3 Pack (2.2%)</c:v>
                </c:pt>
                <c:pt idx="5">
                  <c:v>Bic Comfort 3 Sensitive Skin Disposable Razors 4 Pack (2.0%)</c:v>
                </c:pt>
                <c:pt idx="6">
                  <c:v>Equate Caliber 3 Disposable Razors 3 Pack (1.4%)</c:v>
                </c:pt>
                <c:pt idx="7">
                  <c:v>Gillette Mach 3 Sensitive Skin Disposable Razors 3 Pack (2.4%)</c:v>
                </c:pt>
                <c:pt idx="8">
                  <c:v>Bic Men Sensitive Single Blade Disposable Razors 12 Pack (5.7%)</c:v>
                </c:pt>
                <c:pt idx="9">
                  <c:v>Bic Flex 4 Sensitive Skin Disposable Razors 3 Pack (1.7%)</c:v>
                </c:pt>
              </c:strCache>
            </c:strRef>
          </c:cat>
          <c:val>
            <c:numRef>
              <c:f>Sheet1!$B$2:$B$11</c:f>
              <c:numCache>
                <c:formatCode>General</c:formatCode>
                <c:ptCount val="10"/>
                <c:pt idx="0">
                  <c:v>8.6379304773209639E-2</c:v>
                </c:pt>
                <c:pt idx="1">
                  <c:v>8.4133388295136724E-2</c:v>
                </c:pt>
                <c:pt idx="2">
                  <c:v>8.1003402957095225E-2</c:v>
                </c:pt>
                <c:pt idx="3">
                  <c:v>6.5010276596578431E-2</c:v>
                </c:pt>
                <c:pt idx="4">
                  <c:v>6.15088363675255E-2</c:v>
                </c:pt>
                <c:pt idx="5">
                  <c:v>5.9217762726920392E-2</c:v>
                </c:pt>
                <c:pt idx="6">
                  <c:v>5.7036007403999799E-2</c:v>
                </c:pt>
                <c:pt idx="7">
                  <c:v>4.4946226934353697E-2</c:v>
                </c:pt>
                <c:pt idx="8">
                  <c:v>4.2323571862146837E-2</c:v>
                </c:pt>
                <c:pt idx="9">
                  <c:v>4.220426780129818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3 Sensitive Disposable Razors 4 Pack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2 Sensitive Disposable Razors 12 Pack (2.7%)</c:v>
                </c:pt>
                <c:pt idx="1">
                  <c:v>Equate Speed 3 Disposable Razors 4 Pack (2.3%)</c:v>
                </c:pt>
                <c:pt idx="2">
                  <c:v>Gillette Mach 3 Sensitive Skin Disposable Razors 3 Pack (2.4%)</c:v>
                </c:pt>
                <c:pt idx="3">
                  <c:v>Equate Caliber 5 Disposable Razors 3 Pack (2.2%)</c:v>
                </c:pt>
                <c:pt idx="4">
                  <c:v>Equate 2 Blade Disposable Razors 12 Pack (5.7%)</c:v>
                </c:pt>
                <c:pt idx="5">
                  <c:v>Equate 2 Blade Disposable Razors 5 Pack (5.5%)</c:v>
                </c:pt>
                <c:pt idx="6">
                  <c:v>Bic Flex 4 Sensitive Skin Disposable Razors 3 Pack (1.7%)</c:v>
                </c:pt>
                <c:pt idx="7">
                  <c:v>Schick Xtreme 3 Sensitive Disposable Razors 8 Pack (1.7%)</c:v>
                </c:pt>
                <c:pt idx="8">
                  <c:v>Bic Comfort 3 Sensitive Skin Disposable Razors 4 Pack (2.0%)</c:v>
                </c:pt>
                <c:pt idx="9">
                  <c:v>Equate Caliber 3 Disposable Razors 3 Pack (1.4%)</c:v>
                </c:pt>
              </c:strCache>
            </c:strRef>
          </c:cat>
          <c:val>
            <c:numRef>
              <c:f>Sheet1!$B$2:$B$11</c:f>
              <c:numCache>
                <c:formatCode>General</c:formatCode>
                <c:ptCount val="10"/>
                <c:pt idx="0">
                  <c:v>0.11368442940416866</c:v>
                </c:pt>
                <c:pt idx="1">
                  <c:v>8.7709337856953937E-2</c:v>
                </c:pt>
                <c:pt idx="2">
                  <c:v>6.8342654480655102E-2</c:v>
                </c:pt>
                <c:pt idx="3">
                  <c:v>5.9098803177507951E-2</c:v>
                </c:pt>
                <c:pt idx="4">
                  <c:v>5.334655329112719E-2</c:v>
                </c:pt>
                <c:pt idx="5">
                  <c:v>5.1621746984381142E-2</c:v>
                </c:pt>
                <c:pt idx="6">
                  <c:v>5.0277283512299861E-2</c:v>
                </c:pt>
                <c:pt idx="7">
                  <c:v>4.951172063767436E-2</c:v>
                </c:pt>
                <c:pt idx="8">
                  <c:v>4.8083753927394821E-2</c:v>
                </c:pt>
                <c:pt idx="9">
                  <c:v>4.503261956945033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Xtreme 2 Sensitive Disposable Razors 24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0.17</c:v>
                </c:pt>
                <c:pt idx="1">
                  <c:v>10.77</c:v>
                </c:pt>
                <c:pt idx="2">
                  <c:v>11.97</c:v>
                </c:pt>
                <c:pt idx="3">
                  <c:v>13.17</c:v>
                </c:pt>
                <c:pt idx="4">
                  <c:v>14.97</c:v>
                </c:pt>
              </c:numCache>
            </c:numRef>
          </c:xVal>
          <c:yVal>
            <c:numRef>
              <c:f>Sheet1!$B$2:$B$6</c:f>
              <c:numCache>
                <c:formatCode>General</c:formatCode>
                <c:ptCount val="5"/>
                <c:pt idx="0">
                  <c:v>0.1879461201574765</c:v>
                </c:pt>
                <c:pt idx="1">
                  <c:v>0.10497146075286164</c:v>
                </c:pt>
                <c:pt idx="2">
                  <c:v>0</c:v>
                </c:pt>
                <c:pt idx="3">
                  <c:v>-9.9603738709538286E-2</c:v>
                </c:pt>
                <c:pt idx="4">
                  <c:v>-0.2910879566407397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Xtreme 5 Sensitive Disposable Razors 2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5.4700000000000006</c:v>
                </c:pt>
                <c:pt idx="1">
                  <c:v>5.7700000000000005</c:v>
                </c:pt>
                <c:pt idx="2">
                  <c:v>6.47</c:v>
                </c:pt>
                <c:pt idx="3">
                  <c:v>7.07</c:v>
                </c:pt>
                <c:pt idx="4">
                  <c:v>8.07</c:v>
                </c:pt>
              </c:numCache>
            </c:numRef>
          </c:xVal>
          <c:yVal>
            <c:numRef>
              <c:f>Sheet1!$B$9:$B$13</c:f>
              <c:numCache>
                <c:formatCode>General</c:formatCode>
                <c:ptCount val="5"/>
                <c:pt idx="0">
                  <c:v>0.10555443836946064</c:v>
                </c:pt>
                <c:pt idx="1">
                  <c:v>7.0735032479588317E-2</c:v>
                </c:pt>
                <c:pt idx="2">
                  <c:v>0</c:v>
                </c:pt>
                <c:pt idx="3">
                  <c:v>-0.16206742431874474</c:v>
                </c:pt>
                <c:pt idx="4">
                  <c:v>-0.3199528676957684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Xtreme 5 Sensitive Disposable Razors 4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0.17</c:v>
                </c:pt>
                <c:pt idx="1">
                  <c:v>10.77</c:v>
                </c:pt>
                <c:pt idx="2">
                  <c:v>11.97</c:v>
                </c:pt>
                <c:pt idx="3">
                  <c:v>13.17</c:v>
                </c:pt>
                <c:pt idx="4">
                  <c:v>14.97</c:v>
                </c:pt>
              </c:numCache>
            </c:numRef>
          </c:xVal>
          <c:yVal>
            <c:numRef>
              <c:f>Sheet1!$B$16:$B$20</c:f>
              <c:numCache>
                <c:formatCode>General</c:formatCode>
                <c:ptCount val="5"/>
                <c:pt idx="0">
                  <c:v>0.23338960643226642</c:v>
                </c:pt>
                <c:pt idx="1">
                  <c:v>0.10979867513050418</c:v>
                </c:pt>
                <c:pt idx="2">
                  <c:v>0</c:v>
                </c:pt>
                <c:pt idx="3">
                  <c:v>-0.10038370390586791</c:v>
                </c:pt>
                <c:pt idx="4">
                  <c:v>-0.23061396168087492</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Schick Xtreme 5 Sensitive Disposable Razors 8 Pack</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6.97</c:v>
                </c:pt>
                <c:pt idx="1">
                  <c:v>17.97</c:v>
                </c:pt>
                <c:pt idx="2">
                  <c:v>19.97</c:v>
                </c:pt>
                <c:pt idx="3">
                  <c:v>21.97</c:v>
                </c:pt>
                <c:pt idx="4">
                  <c:v>24.97</c:v>
                </c:pt>
              </c:numCache>
            </c:numRef>
          </c:xVal>
          <c:yVal>
            <c:numRef>
              <c:f>Sheet1!$B$23:$B$27</c:f>
              <c:numCache>
                <c:formatCode>General</c:formatCode>
                <c:ptCount val="5"/>
                <c:pt idx="0">
                  <c:v>0.21857499481305898</c:v>
                </c:pt>
                <c:pt idx="1">
                  <c:v>0.10084857057750089</c:v>
                </c:pt>
                <c:pt idx="2">
                  <c:v>0</c:v>
                </c:pt>
                <c:pt idx="3">
                  <c:v>-5.32937720425452E-2</c:v>
                </c:pt>
                <c:pt idx="4">
                  <c:v>-0.10281293710869634</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Schick Xtreme 3 Body &amp; Groin Disposable Razors 3 Pack</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8.4700000000000006</c:v>
                </c:pt>
                <c:pt idx="1">
                  <c:v>8.9700000000000006</c:v>
                </c:pt>
                <c:pt idx="2">
                  <c:v>9.9700000000000006</c:v>
                </c:pt>
                <c:pt idx="3">
                  <c:v>10.97</c:v>
                </c:pt>
                <c:pt idx="4">
                  <c:v>12.47</c:v>
                </c:pt>
              </c:numCache>
            </c:numRef>
          </c:xVal>
          <c:yVal>
            <c:numRef>
              <c:f>Sheet1!$B$30:$B$34</c:f>
              <c:numCache>
                <c:formatCode>General</c:formatCode>
                <c:ptCount val="5"/>
                <c:pt idx="0">
                  <c:v>0.17507432631031733</c:v>
                </c:pt>
                <c:pt idx="1">
                  <c:v>8.4431755158989208E-2</c:v>
                </c:pt>
                <c:pt idx="2">
                  <c:v>0</c:v>
                </c:pt>
                <c:pt idx="3">
                  <c:v>-0.17501407077603987</c:v>
                </c:pt>
                <c:pt idx="4">
                  <c:v>-0.29182619270697485</c:v>
                </c:pt>
              </c:numCache>
            </c:numRef>
          </c:yVal>
          <c:smooth val="0"/>
          <c:extLst>
            <c:ext xmlns:c16="http://schemas.microsoft.com/office/drawing/2014/chart" uri="{C3380CC4-5D6E-409C-BE32-E72D297353CC}">
              <c16:uniqueId val="{0000007D-1ABB-4592-8776-98B59FCA8F1B}"/>
            </c:ext>
          </c:extLst>
        </c:ser>
        <c:ser>
          <c:idx val="7"/>
          <c:order val="5"/>
          <c:tx>
            <c:strRef>
              <c:f>Sheet1!$B$36</c:f>
              <c:strCache>
                <c:ptCount val="1"/>
                <c:pt idx="0">
                  <c:v>Schick Hydro 5 Ultimate Comfort Disposable Razors 3 Pack</c:v>
                </c:pt>
              </c:strCache>
            </c:strRef>
          </c:tx>
          <c:spPr>
            <a:ln w="19050" cap="rnd">
              <a:solidFill>
                <a:srgbClr val="B8B60D"/>
              </a:solidFill>
              <a:round/>
            </a:ln>
            <a:effectLst/>
          </c:spPr>
          <c:marker>
            <c:symbol val="circle"/>
            <c:size val="5"/>
            <c:spPr>
              <a:solidFill>
                <a:srgbClr val="B8B60D"/>
              </a:solidFill>
              <a:ln w="9525">
                <a:solidFill>
                  <a:srgbClr val="FFFFFF"/>
                </a:solidFill>
              </a:ln>
              <a:effectLst/>
            </c:spPr>
          </c:marker>
          <c:dLbls>
            <c:dLbl>
              <c:idx val="0"/>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7:$A$41</c:f>
              <c:numCache>
                <c:formatCode>General</c:formatCode>
                <c:ptCount val="5"/>
                <c:pt idx="0">
                  <c:v>8.4700000000000006</c:v>
                </c:pt>
                <c:pt idx="1">
                  <c:v>8.9700000000000006</c:v>
                </c:pt>
                <c:pt idx="2">
                  <c:v>9.9700000000000006</c:v>
                </c:pt>
                <c:pt idx="3">
                  <c:v>10.97</c:v>
                </c:pt>
                <c:pt idx="4">
                  <c:v>12.47</c:v>
                </c:pt>
              </c:numCache>
            </c:numRef>
          </c:xVal>
          <c:yVal>
            <c:numRef>
              <c:f>Sheet1!$B$37:$B$41</c:f>
              <c:numCache>
                <c:formatCode>General</c:formatCode>
                <c:ptCount val="5"/>
                <c:pt idx="0">
                  <c:v>0.13559103333779879</c:v>
                </c:pt>
                <c:pt idx="1">
                  <c:v>6.9959837721533233E-2</c:v>
                </c:pt>
                <c:pt idx="2">
                  <c:v>0</c:v>
                </c:pt>
                <c:pt idx="3">
                  <c:v>-0.15231884668545362</c:v>
                </c:pt>
                <c:pt idx="4">
                  <c:v>-0.25358270986069553</c:v>
                </c:pt>
              </c:numCache>
            </c:numRef>
          </c:yVal>
          <c:smooth val="0"/>
          <c:extLst>
            <c:ext xmlns:c16="http://schemas.microsoft.com/office/drawing/2014/chart" uri="{C3380CC4-5D6E-409C-BE32-E72D297353CC}">
              <c16:uniqueId val="{0000007D-1ABB-4592-8776-98B59FCA8F1B}"/>
            </c:ext>
          </c:extLst>
        </c:ser>
        <c:ser>
          <c:idx val="8"/>
          <c:order val="6"/>
          <c:tx>
            <c:strRef>
              <c:f>Sheet1!$B$43</c:f>
              <c:strCache>
                <c:ptCount val="1"/>
                <c:pt idx="0">
                  <c:v>Schick First 4 Blade Disposable Razors 3 Pack</c:v>
                </c:pt>
              </c:strCache>
            </c:strRef>
          </c:tx>
          <c:spPr>
            <a:ln w="19050" cap="rnd">
              <a:solidFill>
                <a:srgbClr val="008E87"/>
              </a:solidFill>
              <a:round/>
            </a:ln>
            <a:effectLst/>
          </c:spPr>
          <c:marker>
            <c:symbol val="circle"/>
            <c:size val="5"/>
            <c:spPr>
              <a:solidFill>
                <a:srgbClr val="008E87"/>
              </a:solidFill>
              <a:ln w="9525">
                <a:solidFill>
                  <a:srgbClr val="FFFFFF"/>
                </a:solidFill>
              </a:ln>
              <a:effectLst/>
            </c:spPr>
          </c:marker>
          <c:dLbls>
            <c:dLbl>
              <c:idx val="0"/>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44:$A$48</c:f>
              <c:numCache>
                <c:formatCode>General</c:formatCode>
                <c:ptCount val="5"/>
                <c:pt idx="0">
                  <c:v>5.4700000000000006</c:v>
                </c:pt>
                <c:pt idx="1">
                  <c:v>5.7700000000000005</c:v>
                </c:pt>
                <c:pt idx="2">
                  <c:v>6.47</c:v>
                </c:pt>
                <c:pt idx="3">
                  <c:v>7.07</c:v>
                </c:pt>
                <c:pt idx="4">
                  <c:v>8.07</c:v>
                </c:pt>
              </c:numCache>
            </c:numRef>
          </c:xVal>
          <c:yVal>
            <c:numRef>
              <c:f>Sheet1!$B$44:$B$48</c:f>
              <c:numCache>
                <c:formatCode>General</c:formatCode>
                <c:ptCount val="5"/>
                <c:pt idx="0">
                  <c:v>0.18536484947090714</c:v>
                </c:pt>
                <c:pt idx="1">
                  <c:v>0.12129968196345203</c:v>
                </c:pt>
                <c:pt idx="2">
                  <c:v>0</c:v>
                </c:pt>
                <c:pt idx="3">
                  <c:v>-0.22091986542679226</c:v>
                </c:pt>
                <c:pt idx="4">
                  <c:v>-0.3899278944658294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4.97"/>
          <c:min val="5.4700000000000006"/>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B$2:$B$26</c:f>
              <c:numCache>
                <c:formatCode>General</c:formatCode>
                <c:ptCount val="25"/>
                <c:pt idx="0">
                  <c:v>118.7946120157477</c:v>
                </c:pt>
                <c:pt idx="1">
                  <c:v>115.77628937730876</c:v>
                </c:pt>
                <c:pt idx="2">
                  <c:v>113.02485599779241</c:v>
                </c:pt>
                <c:pt idx="3">
                  <c:v>110.49714607528625</c:v>
                </c:pt>
                <c:pt idx="4">
                  <c:v>108.15919927412307</c:v>
                </c:pt>
                <c:pt idx="5">
                  <c:v>106.39044679209088</c:v>
                </c:pt>
                <c:pt idx="6">
                  <c:v>104.69470539007106</c:v>
                </c:pt>
                <c:pt idx="7">
                  <c:v>103.06724371243664</c:v>
                </c:pt>
                <c:pt idx="8">
                  <c:v>101.50368936525737</c:v>
                </c:pt>
                <c:pt idx="9">
                  <c:v>100</c:v>
                </c:pt>
                <c:pt idx="10">
                  <c:v>98.552436837789884</c:v>
                </c:pt>
                <c:pt idx="11">
                  <c:v>97.157540399983972</c:v>
                </c:pt>
                <c:pt idx="12">
                  <c:v>95.812108241745079</c:v>
                </c:pt>
                <c:pt idx="13">
                  <c:v>93.806088709561607</c:v>
                </c:pt>
                <c:pt idx="14">
                  <c:v>91.883910706945073</c:v>
                </c:pt>
                <c:pt idx="15">
                  <c:v>90.039626129046169</c:v>
                </c:pt>
                <c:pt idx="16">
                  <c:v>88.267905513386083</c:v>
                </c:pt>
                <c:pt idx="17">
                  <c:v>86.164070709008925</c:v>
                </c:pt>
                <c:pt idx="18">
                  <c:v>83.74243447791801</c:v>
                </c:pt>
                <c:pt idx="19">
                  <c:v>81.405531937868787</c:v>
                </c:pt>
                <c:pt idx="20">
                  <c:v>79.150215055265107</c:v>
                </c:pt>
                <c:pt idx="21">
                  <c:v>76.973630388419807</c:v>
                </c:pt>
                <c:pt idx="22">
                  <c:v>74.8731730034431</c:v>
                </c:pt>
                <c:pt idx="23">
                  <c:v>72.846442844415748</c:v>
                </c:pt>
                <c:pt idx="24">
                  <c:v>70.89120433592606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C$2:$C$26</c:f>
              <c:numCache>
                <c:formatCode>General</c:formatCode>
                <c:ptCount val="25"/>
                <c:pt idx="0">
                  <c:v>101.04136446879299</c:v>
                </c:pt>
                <c:pt idx="1">
                  <c:v>100.3990632167304</c:v>
                </c:pt>
                <c:pt idx="2">
                  <c:v>99.891825808884377</c:v>
                </c:pt>
                <c:pt idx="3">
                  <c:v>99.494179560702591</c:v>
                </c:pt>
                <c:pt idx="4">
                  <c:v>99.186204473668496</c:v>
                </c:pt>
                <c:pt idx="5">
                  <c:v>99.329689410954458</c:v>
                </c:pt>
                <c:pt idx="6">
                  <c:v>99.483726628872589</c:v>
                </c:pt>
                <c:pt idx="7">
                  <c:v>99.647381367850684</c:v>
                </c:pt>
                <c:pt idx="8">
                  <c:v>99.819757822795125</c:v>
                </c:pt>
                <c:pt idx="9">
                  <c:v>100</c:v>
                </c:pt>
                <c:pt idx="10">
                  <c:v>100.18729217548668</c:v>
                </c:pt>
                <c:pt idx="11">
                  <c:v>100.38085899665097</c:v>
                </c:pt>
                <c:pt idx="12">
                  <c:v>100.57996527039337</c:v>
                </c:pt>
                <c:pt idx="13">
                  <c:v>100.0333361717163</c:v>
                </c:pt>
                <c:pt idx="14">
                  <c:v>99.510844868436905</c:v>
                </c:pt>
                <c:pt idx="15">
                  <c:v>99.010134132347034</c:v>
                </c:pt>
                <c:pt idx="16">
                  <c:v>98.529141122284344</c:v>
                </c:pt>
                <c:pt idx="17">
                  <c:v>97.615253880722037</c:v>
                </c:pt>
                <c:pt idx="18">
                  <c:v>96.268377683634583</c:v>
                </c:pt>
                <c:pt idx="19">
                  <c:v>94.939838253152757</c:v>
                </c:pt>
                <c:pt idx="20">
                  <c:v>93.630117736545571</c:v>
                </c:pt>
                <c:pt idx="21">
                  <c:v>92.339843227528789</c:v>
                </c:pt>
                <c:pt idx="22">
                  <c:v>91.069755328703934</c:v>
                </c:pt>
                <c:pt idx="23">
                  <c:v>89.820675149506215</c:v>
                </c:pt>
                <c:pt idx="24">
                  <c:v>88.59347098617924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D$2:$D$26</c:f>
              <c:numCache>
                <c:formatCode>General</c:formatCode>
                <c:ptCount val="25"/>
                <c:pt idx="0">
                  <c:v>94.830985951352758</c:v>
                </c:pt>
                <c:pt idx="1">
                  <c:v>95.016502315262414</c:v>
                </c:pt>
                <c:pt idx="2">
                  <c:v>95.291730662969471</c:v>
                </c:pt>
                <c:pt idx="3">
                  <c:v>95.637256136955926</c:v>
                </c:pt>
                <c:pt idx="4">
                  <c:v>96.03796768490534</c:v>
                </c:pt>
                <c:pt idx="5">
                  <c:v>96.852038570862007</c:v>
                </c:pt>
                <c:pt idx="6">
                  <c:v>97.654922669518413</c:v>
                </c:pt>
                <c:pt idx="7">
                  <c:v>98.447010061725081</c:v>
                </c:pt>
                <c:pt idx="8">
                  <c:v>99.228617555899632</c:v>
                </c:pt>
                <c:pt idx="9">
                  <c:v>100</c:v>
                </c:pt>
                <c:pt idx="10">
                  <c:v>100.76136020003665</c:v>
                </c:pt>
                <c:pt idx="11">
                  <c:v>101.51285758328615</c:v>
                </c:pt>
                <c:pt idx="12">
                  <c:v>102.25461573538497</c:v>
                </c:pt>
                <c:pt idx="13">
                  <c:v>102.21624953440657</c:v>
                </c:pt>
                <c:pt idx="14">
                  <c:v>102.18119626819595</c:v>
                </c:pt>
                <c:pt idx="15">
                  <c:v>102.1483455113043</c:v>
                </c:pt>
                <c:pt idx="16">
                  <c:v>102.11676926722933</c:v>
                </c:pt>
                <c:pt idx="17">
                  <c:v>101.61410603091056</c:v>
                </c:pt>
                <c:pt idx="18">
                  <c:v>100.6352240708071</c:v>
                </c:pt>
                <c:pt idx="19">
                  <c:v>99.651512157480852</c:v>
                </c:pt>
                <c:pt idx="20">
                  <c:v>98.664743690942046</c:v>
                </c:pt>
                <c:pt idx="21">
                  <c:v>97.67678366165093</c:v>
                </c:pt>
                <c:pt idx="22">
                  <c:v>96.689562152966957</c:v>
                </c:pt>
                <c:pt idx="23">
                  <c:v>95.705044870527047</c:v>
                </c:pt>
                <c:pt idx="24">
                  <c:v>94.72520212329402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E$2:$E$26</c:f>
              <c:numCache>
                <c:formatCode>General</c:formatCode>
                <c:ptCount val="25"/>
                <c:pt idx="0">
                  <c:v>0.70040507459187828</c:v>
                </c:pt>
                <c:pt idx="1">
                  <c:v>0.706183183085767</c:v>
                </c:pt>
                <c:pt idx="2">
                  <c:v>0.71174263089871359</c:v>
                </c:pt>
                <c:pt idx="3">
                  <c:v>0.71709559968425274</c:v>
                </c:pt>
                <c:pt idx="4">
                  <c:v>0.72225338273467665</c:v>
                </c:pt>
                <c:pt idx="5">
                  <c:v>0.72722646451203232</c:v>
                </c:pt>
                <c:pt idx="6">
                  <c:v>0.73202459178534762</c:v>
                </c:pt>
                <c:pt idx="7">
                  <c:v>0.73665683738974963</c:v>
                </c:pt>
                <c:pt idx="8">
                  <c:v>0.74113165748508103</c:v>
                </c:pt>
                <c:pt idx="9">
                  <c:v>0.74545694307430255</c:v>
                </c:pt>
                <c:pt idx="10">
                  <c:v>0.74964006644202152</c:v>
                </c:pt>
                <c:pt idx="11">
                  <c:v>0.75368792308806809</c:v>
                </c:pt>
                <c:pt idx="12">
                  <c:v>0.75760696965786811</c:v>
                </c:pt>
                <c:pt idx="13">
                  <c:v>0.76140325830848887</c:v>
                </c:pt>
                <c:pt idx="14">
                  <c:v>0.7650824678950966</c:v>
                </c:pt>
                <c:pt idx="15">
                  <c:v>0.76864993231582401</c:v>
                </c:pt>
                <c:pt idx="16">
                  <c:v>0.77211066631259562</c:v>
                </c:pt>
                <c:pt idx="17">
                  <c:v>0.77546938899037599</c:v>
                </c:pt>
                <c:pt idx="18">
                  <c:v>0.77873054528681218</c:v>
                </c:pt>
                <c:pt idx="19">
                  <c:v>0.78189832559766659</c:v>
                </c:pt>
                <c:pt idx="20">
                  <c:v>0.78497668374025431</c:v>
                </c:pt>
                <c:pt idx="21">
                  <c:v>0.78796935341679919</c:v>
                </c:pt>
                <c:pt idx="22">
                  <c:v>0.79087986332185334</c:v>
                </c:pt>
                <c:pt idx="23">
                  <c:v>0.79371155102230218</c:v>
                </c:pt>
                <c:pt idx="24">
                  <c:v>0.7964675757247430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2 Sensitive Disposable Razors 2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2 Sensitive Disposable Razors 12 Pack (2.7%)</c:v>
                </c:pt>
                <c:pt idx="1">
                  <c:v>Schick Xtreme 3 Sensitive Disposable Razors 4 Pack (2.8%)</c:v>
                </c:pt>
                <c:pt idx="2">
                  <c:v>Gillette Sensor 2 Pivot Head Disposable Razors 12 Pack (2.2%)</c:v>
                </c:pt>
                <c:pt idx="3">
                  <c:v>Gillette Sensor 2 Plus Disposable Razors 10 Pack (2.2%)</c:v>
                </c:pt>
                <c:pt idx="4">
                  <c:v>Bic Men Sensitive Single Blade Disposable Razors 12 Pack (5.7%)</c:v>
                </c:pt>
                <c:pt idx="5">
                  <c:v>Equate 2 Blade Disposable Razors 12 Pack (5.7%)</c:v>
                </c:pt>
                <c:pt idx="6">
                  <c:v>Equate 2 Blade Disposable Razors 5 Pack (5.5%)</c:v>
                </c:pt>
                <c:pt idx="7">
                  <c:v>Schick Xtreme 3 Sensitive Disposable Razors 8 Pack (1.7%)</c:v>
                </c:pt>
                <c:pt idx="8">
                  <c:v>Schick Xtreme 3 Sensitive Disposable Razors 12 Pack (0.9%)</c:v>
                </c:pt>
                <c:pt idx="9">
                  <c:v>None Razors (12.2%)</c:v>
                </c:pt>
              </c:strCache>
            </c:strRef>
          </c:cat>
          <c:val>
            <c:numRef>
              <c:f>Sheet1!$B$2:$B$11</c:f>
              <c:numCache>
                <c:formatCode>General</c:formatCode>
                <c:ptCount val="10"/>
                <c:pt idx="0">
                  <c:v>0.23336135364012453</c:v>
                </c:pt>
                <c:pt idx="1">
                  <c:v>9.1140578687509202E-2</c:v>
                </c:pt>
                <c:pt idx="2">
                  <c:v>7.2541208280036948E-2</c:v>
                </c:pt>
                <c:pt idx="3">
                  <c:v>5.781487574594802E-2</c:v>
                </c:pt>
                <c:pt idx="4">
                  <c:v>5.504006313221757E-2</c:v>
                </c:pt>
                <c:pt idx="5">
                  <c:v>5.4540669943498772E-2</c:v>
                </c:pt>
                <c:pt idx="6">
                  <c:v>4.7429889259215451E-2</c:v>
                </c:pt>
                <c:pt idx="7">
                  <c:v>4.0939231357976454E-2</c:v>
                </c:pt>
                <c:pt idx="8">
                  <c:v>2.8168898282477116E-2</c:v>
                </c:pt>
                <c:pt idx="9">
                  <c:v>2.291006282944109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2 Sensitive Disposable Razors 2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2 Sensitive Disposable Razors 12 Pack (2.7%)</c:v>
                </c:pt>
                <c:pt idx="1">
                  <c:v>Schick Xtreme 3 Sensitive Disposable Razors 4 Pack (2.8%)</c:v>
                </c:pt>
                <c:pt idx="2">
                  <c:v>Bic Men Sensitive Single Blade Disposable Razors 12 Pack (5.7%)</c:v>
                </c:pt>
                <c:pt idx="3">
                  <c:v>Gillette Sensor 2 Pivot Head Disposable Razors 12 Pack (2.2%)</c:v>
                </c:pt>
                <c:pt idx="4">
                  <c:v>Equate 2 Blade Disposable Razors 12 Pack (5.7%)</c:v>
                </c:pt>
                <c:pt idx="5">
                  <c:v>Equate 2 Blade Disposable Razors 5 Pack (5.5%)</c:v>
                </c:pt>
                <c:pt idx="6">
                  <c:v>Gillette Sensor 2 Plus Disposable Razors 10 Pack (2.2%)</c:v>
                </c:pt>
                <c:pt idx="7">
                  <c:v>Schick Xtreme 3 Sensitive Disposable Razors 8 Pack (1.7%)</c:v>
                </c:pt>
                <c:pt idx="8">
                  <c:v>Schick Xtreme 3 Sensitive Disposable Razors 12 Pack (0.9%)</c:v>
                </c:pt>
                <c:pt idx="9">
                  <c:v>Bic Men Sensitive Twin Blade Disposable Razors 10 Pack (1.3%)</c:v>
                </c:pt>
              </c:strCache>
            </c:strRef>
          </c:cat>
          <c:val>
            <c:numRef>
              <c:f>Sheet1!$B$2:$B$11</c:f>
              <c:numCache>
                <c:formatCode>General</c:formatCode>
                <c:ptCount val="10"/>
                <c:pt idx="0">
                  <c:v>0.20332764220636132</c:v>
                </c:pt>
                <c:pt idx="1">
                  <c:v>8.9759456727177445E-2</c:v>
                </c:pt>
                <c:pt idx="2">
                  <c:v>6.7094724968650335E-2</c:v>
                </c:pt>
                <c:pt idx="3">
                  <c:v>6.44889678133478E-2</c:v>
                </c:pt>
                <c:pt idx="4">
                  <c:v>5.7586429793006051E-2</c:v>
                </c:pt>
                <c:pt idx="5">
                  <c:v>4.7525660954487958E-2</c:v>
                </c:pt>
                <c:pt idx="6">
                  <c:v>4.6766631563810321E-2</c:v>
                </c:pt>
                <c:pt idx="7">
                  <c:v>4.529026821847023E-2</c:v>
                </c:pt>
                <c:pt idx="8">
                  <c:v>3.3381125865266141E-2</c:v>
                </c:pt>
                <c:pt idx="9">
                  <c:v>3.12872939501379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Schick</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Gillet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Harr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Dollar Shave Club</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Van Der Hage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7</c:f>
              <c:numCache>
                <c:formatCode>General</c:formatCode>
                <c:ptCount val="6"/>
                <c:pt idx="0">
                  <c:v>-0.41722825444411493</c:v>
                </c:pt>
                <c:pt idx="1">
                  <c:v>-1.1109924222915777</c:v>
                </c:pt>
                <c:pt idx="2">
                  <c:v>-0.41438224508638155</c:v>
                </c:pt>
                <c:pt idx="3">
                  <c:v>-0.43793579423811868</c:v>
                </c:pt>
                <c:pt idx="4">
                  <c:v>-0.97260547540818998</c:v>
                </c:pt>
                <c:pt idx="5">
                  <c:v>-0.35155909575153899</c:v>
                </c:pt>
              </c:numCache>
            </c:numRef>
          </c:xVal>
          <c:yVal>
            <c:numRef>
              <c:f>Sheet1!$B$2:$B$7</c:f>
              <c:numCache>
                <c:formatCode>General</c:formatCode>
                <c:ptCount val="6"/>
                <c:pt idx="0">
                  <c:v>-1.2679346378378265</c:v>
                </c:pt>
                <c:pt idx="1">
                  <c:v>-0.82773266631362918</c:v>
                </c:pt>
                <c:pt idx="2">
                  <c:v>-0.38393006316894002</c:v>
                </c:pt>
                <c:pt idx="3">
                  <c:v>-0.36912763310545094</c:v>
                </c:pt>
                <c:pt idx="4">
                  <c:v>-0.72884896561167545</c:v>
                </c:pt>
                <c:pt idx="5">
                  <c:v>-0.23484618082110975</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B$2:$B$15</c:f>
              <c:numCache>
                <c:formatCode>General</c:formatCode>
                <c:ptCount val="14"/>
                <c:pt idx="0">
                  <c:v>110.55544383694607</c:v>
                </c:pt>
                <c:pt idx="1">
                  <c:v>108.19990841168368</c:v>
                </c:pt>
                <c:pt idx="2">
                  <c:v>105.97903446654445</c:v>
                </c:pt>
                <c:pt idx="3">
                  <c:v>103.87961536686632</c:v>
                </c:pt>
                <c:pt idx="4">
                  <c:v>101.89001794528313</c:v>
                </c:pt>
                <c:pt idx="5">
                  <c:v>100</c:v>
                </c:pt>
                <c:pt idx="6">
                  <c:v>93.637308888991072</c:v>
                </c:pt>
                <c:pt idx="7">
                  <c:v>88.311809292576399</c:v>
                </c:pt>
                <c:pt idx="8">
                  <c:v>83.793257568125455</c:v>
                </c:pt>
                <c:pt idx="9">
                  <c:v>80.136080898751501</c:v>
                </c:pt>
                <c:pt idx="10">
                  <c:v>76.751209241458568</c:v>
                </c:pt>
                <c:pt idx="11">
                  <c:v>73.61537201725514</c:v>
                </c:pt>
                <c:pt idx="12">
                  <c:v>70.706669620735425</c:v>
                </c:pt>
                <c:pt idx="13">
                  <c:v>68.00471323042310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C$2:$C$15</c:f>
              <c:numCache>
                <c:formatCode>General</c:formatCode>
                <c:ptCount val="14"/>
                <c:pt idx="0">
                  <c:v>93.675426831389586</c:v>
                </c:pt>
                <c:pt idx="1">
                  <c:v>94.986570604087618</c:v>
                </c:pt>
                <c:pt idx="2">
                  <c:v>96.274563771190273</c:v>
                </c:pt>
                <c:pt idx="3">
                  <c:v>97.539487670996166</c:v>
                </c:pt>
                <c:pt idx="4">
                  <c:v>98.781321060545139</c:v>
                </c:pt>
                <c:pt idx="5">
                  <c:v>100</c:v>
                </c:pt>
                <c:pt idx="6">
                  <c:v>96.498310988145988</c:v>
                </c:pt>
                <c:pt idx="7">
                  <c:v>93.708719672191194</c:v>
                </c:pt>
                <c:pt idx="8">
                  <c:v>91.474717458275336</c:v>
                </c:pt>
                <c:pt idx="9">
                  <c:v>89.927782097585776</c:v>
                </c:pt>
                <c:pt idx="10">
                  <c:v>88.472118788000614</c:v>
                </c:pt>
                <c:pt idx="11">
                  <c:v>87.104991939849214</c:v>
                </c:pt>
                <c:pt idx="12">
                  <c:v>85.822512829045422</c:v>
                </c:pt>
                <c:pt idx="13">
                  <c:v>84.62001972886386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D$2:$D$15</c:f>
              <c:numCache>
                <c:formatCode>General</c:formatCode>
                <c:ptCount val="14"/>
                <c:pt idx="0">
                  <c:v>88.324761475440766</c:v>
                </c:pt>
                <c:pt idx="1">
                  <c:v>90.794286675016096</c:v>
                </c:pt>
                <c:pt idx="2">
                  <c:v>93.192764498620377</c:v>
                </c:pt>
                <c:pt idx="3">
                  <c:v>95.524297336712806</c:v>
                </c:pt>
                <c:pt idx="4">
                  <c:v>97.792373277345561</c:v>
                </c:pt>
                <c:pt idx="5">
                  <c:v>100</c:v>
                </c:pt>
                <c:pt idx="6">
                  <c:v>97.403059717448585</c:v>
                </c:pt>
                <c:pt idx="7">
                  <c:v>95.414966633425607</c:v>
                </c:pt>
                <c:pt idx="8">
                  <c:v>93.902834600515604</c:v>
                </c:pt>
                <c:pt idx="9">
                  <c:v>93.027203747724769</c:v>
                </c:pt>
                <c:pt idx="10">
                  <c:v>92.184476878869191</c:v>
                </c:pt>
                <c:pt idx="11">
                  <c:v>91.378621609775848</c:v>
                </c:pt>
                <c:pt idx="12">
                  <c:v>90.611619047698383</c:v>
                </c:pt>
                <c:pt idx="13">
                  <c:v>89.88392426072540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E$2:$E$15</c:f>
              <c:numCache>
                <c:formatCode>General</c:formatCode>
                <c:ptCount val="14"/>
                <c:pt idx="0">
                  <c:v>0.72634400030754109</c:v>
                </c:pt>
                <c:pt idx="1">
                  <c:v>0.73599676925612867</c:v>
                </c:pt>
                <c:pt idx="2">
                  <c:v>0.74499176860004257</c:v>
                </c:pt>
                <c:pt idx="3">
                  <c:v>0.75339401675160611</c:v>
                </c:pt>
                <c:pt idx="4">
                  <c:v>0.76126023631295847</c:v>
                </c:pt>
                <c:pt idx="5">
                  <c:v>0.76864013627237249</c:v>
                </c:pt>
                <c:pt idx="6">
                  <c:v>0.77557746352057721</c:v>
                </c:pt>
                <c:pt idx="7">
                  <c:v>0.78211087069610619</c:v>
                </c:pt>
                <c:pt idx="8">
                  <c:v>0.78827463673016263</c:v>
                </c:pt>
                <c:pt idx="9">
                  <c:v>0.79409926845698076</c:v>
                </c:pt>
                <c:pt idx="10">
                  <c:v>0.79961200557995316</c:v>
                </c:pt>
                <c:pt idx="11">
                  <c:v>0.80483724663393086</c:v>
                </c:pt>
                <c:pt idx="12">
                  <c:v>0.80979690999774445</c:v>
                </c:pt>
                <c:pt idx="13">
                  <c:v>0.8145107412245662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5 Sensitive Disposable Razors 2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Equate Speed 3 Disposable Razors 4 Pack (2.3%)</c:v>
                </c:pt>
                <c:pt idx="2">
                  <c:v>None Razors (12.2%)</c:v>
                </c:pt>
                <c:pt idx="3">
                  <c:v>Schick Xtreme 2 Sensitive Disposable Razors 12 Pack (2.7%)</c:v>
                </c:pt>
                <c:pt idx="4">
                  <c:v>Equate 2 Blade Disposable Razors 5 Pack (5.5%)</c:v>
                </c:pt>
                <c:pt idx="5">
                  <c:v>Bic Men Sensitive Single Blade Disposable Razors 12 Pack (5.7%)</c:v>
                </c:pt>
                <c:pt idx="6">
                  <c:v>Equate Caliber 5 Disposable Razors 3 Pack (2.2%)</c:v>
                </c:pt>
                <c:pt idx="7">
                  <c:v>Equate 2 Blade Disposable Razors 12 Pack (5.7%)</c:v>
                </c:pt>
                <c:pt idx="8">
                  <c:v>Bic Comfort 3 Sensitive Skin Disposable Razors 4 Pack (2.0%)</c:v>
                </c:pt>
                <c:pt idx="9">
                  <c:v>Gillette Mach 3 Sensitive Skin Disposable Razors 3 Pack (2.4%)</c:v>
                </c:pt>
              </c:strCache>
            </c:strRef>
          </c:cat>
          <c:val>
            <c:numRef>
              <c:f>Sheet1!$B$2:$B$11</c:f>
              <c:numCache>
                <c:formatCode>General</c:formatCode>
                <c:ptCount val="10"/>
                <c:pt idx="0">
                  <c:v>0.10949133835034391</c:v>
                </c:pt>
                <c:pt idx="1">
                  <c:v>6.7962842939418802E-2</c:v>
                </c:pt>
                <c:pt idx="2">
                  <c:v>5.9998046840583234E-2</c:v>
                </c:pt>
                <c:pt idx="3">
                  <c:v>5.9236389273101403E-2</c:v>
                </c:pt>
                <c:pt idx="4">
                  <c:v>5.742965792625658E-2</c:v>
                </c:pt>
                <c:pt idx="5">
                  <c:v>5.500898090684532E-2</c:v>
                </c:pt>
                <c:pt idx="6">
                  <c:v>5.2039743106482357E-2</c:v>
                </c:pt>
                <c:pt idx="7">
                  <c:v>4.9820097318801507E-2</c:v>
                </c:pt>
                <c:pt idx="8">
                  <c:v>4.5836958473100917E-2</c:v>
                </c:pt>
                <c:pt idx="9">
                  <c:v>4.457416788864007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5 Sensitive Disposable Razors 2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Equate Speed 3 Disposable Razors 4 Pack (2.3%)</c:v>
                </c:pt>
                <c:pt idx="3">
                  <c:v>Gillette Mach 3 Sensitive Skin Disposable Razors 3 Pack (2.4%)</c:v>
                </c:pt>
                <c:pt idx="4">
                  <c:v>Bic Flex 4 Sensitive Skin Disposable Razors 3 Pack (1.7%)</c:v>
                </c:pt>
                <c:pt idx="5">
                  <c:v>Equate Caliber 5 Disposable Razors 3 Pack (2.2%)</c:v>
                </c:pt>
                <c:pt idx="6">
                  <c:v>None Razors (12.2%)</c:v>
                </c:pt>
                <c:pt idx="7">
                  <c:v>Bic Men Sensitive Single Blade Disposable Razors 12 Pack (5.7%)</c:v>
                </c:pt>
                <c:pt idx="8">
                  <c:v>Equate Speed 3 Disposable Razors 8 Pack (1.9%)</c:v>
                </c:pt>
                <c:pt idx="9">
                  <c:v>Bic Comfort 3 Sensitive Skin Disposable Razors 4 Pack (2.0%)</c:v>
                </c:pt>
              </c:strCache>
            </c:strRef>
          </c:cat>
          <c:val>
            <c:numRef>
              <c:f>Sheet1!$B$2:$B$11</c:f>
              <c:numCache>
                <c:formatCode>General</c:formatCode>
                <c:ptCount val="10"/>
                <c:pt idx="0">
                  <c:v>0.1584044272096789</c:v>
                </c:pt>
                <c:pt idx="1">
                  <c:v>9.6122186364365758E-2</c:v>
                </c:pt>
                <c:pt idx="2">
                  <c:v>6.8160358060205928E-2</c:v>
                </c:pt>
                <c:pt idx="3">
                  <c:v>6.3326711711090347E-2</c:v>
                </c:pt>
                <c:pt idx="4">
                  <c:v>4.682589441598263E-2</c:v>
                </c:pt>
                <c:pt idx="5">
                  <c:v>4.6430763510683128E-2</c:v>
                </c:pt>
                <c:pt idx="6">
                  <c:v>4.3755830152063413E-2</c:v>
                </c:pt>
                <c:pt idx="7">
                  <c:v>4.1921233089245315E-2</c:v>
                </c:pt>
                <c:pt idx="8">
                  <c:v>3.6258882393372695E-2</c:v>
                </c:pt>
                <c:pt idx="9">
                  <c:v>3.595090841102466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B$2:$B$26</c:f>
              <c:numCache>
                <c:formatCode>General</c:formatCode>
                <c:ptCount val="25"/>
                <c:pt idx="0">
                  <c:v>123.33896064322664</c:v>
                </c:pt>
                <c:pt idx="1">
                  <c:v>118.63782042815407</c:v>
                </c:pt>
                <c:pt idx="2">
                  <c:v>114.55767805803619</c:v>
                </c:pt>
                <c:pt idx="3">
                  <c:v>110.97986751305041</c:v>
                </c:pt>
                <c:pt idx="4">
                  <c:v>107.81192530006378</c:v>
                </c:pt>
                <c:pt idx="5">
                  <c:v>106.09666253851455</c:v>
                </c:pt>
                <c:pt idx="6">
                  <c:v>104.46398949582114</c:v>
                </c:pt>
                <c:pt idx="7">
                  <c:v>102.90744780405706</c:v>
                </c:pt>
                <c:pt idx="8">
                  <c:v>101.4212077901812</c:v>
                </c:pt>
                <c:pt idx="9">
                  <c:v>100</c:v>
                </c:pt>
                <c:pt idx="10">
                  <c:v>98.639054599911901</c:v>
                </c:pt>
                <c:pt idx="11">
                  <c:v>97.334047746948443</c:v>
                </c:pt>
                <c:pt idx="12">
                  <c:v>96.081054114756057</c:v>
                </c:pt>
                <c:pt idx="13">
                  <c:v>93.926487477312051</c:v>
                </c:pt>
                <c:pt idx="14">
                  <c:v>91.890210469937898</c:v>
                </c:pt>
                <c:pt idx="15">
                  <c:v>89.961629609413222</c:v>
                </c:pt>
                <c:pt idx="16">
                  <c:v>88.13139335623778</c:v>
                </c:pt>
                <c:pt idx="17">
                  <c:v>86.467490755581125</c:v>
                </c:pt>
                <c:pt idx="18">
                  <c:v>84.947278885899095</c:v>
                </c:pt>
                <c:pt idx="19">
                  <c:v>83.48524033920458</c:v>
                </c:pt>
                <c:pt idx="20">
                  <c:v>82.07802885749193</c:v>
                </c:pt>
                <c:pt idx="21">
                  <c:v>80.722540670979754</c:v>
                </c:pt>
                <c:pt idx="22">
                  <c:v>79.415894293481855</c:v>
                </c:pt>
                <c:pt idx="23">
                  <c:v>78.155412145293425</c:v>
                </c:pt>
                <c:pt idx="24">
                  <c:v>76.93860383191255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C$2:$C$26</c:f>
              <c:numCache>
                <c:formatCode>General</c:formatCode>
                <c:ptCount val="25"/>
                <c:pt idx="0">
                  <c:v>104.93372583109384</c:v>
                </c:pt>
                <c:pt idx="1">
                  <c:v>102.90832270483772</c:v>
                </c:pt>
                <c:pt idx="2">
                  <c:v>101.27418536894723</c:v>
                </c:pt>
                <c:pt idx="3">
                  <c:v>99.955719128368301</c:v>
                </c:pt>
                <c:pt idx="4">
                  <c:v>98.893392255655428</c:v>
                </c:pt>
                <c:pt idx="5">
                  <c:v>99.075884768075781</c:v>
                </c:pt>
                <c:pt idx="6">
                  <c:v>99.279831616560216</c:v>
                </c:pt>
                <c:pt idx="7">
                  <c:v>99.503099407487056</c:v>
                </c:pt>
                <c:pt idx="8">
                  <c:v>99.743745193408756</c:v>
                </c:pt>
                <c:pt idx="9">
                  <c:v>100</c:v>
                </c:pt>
                <c:pt idx="10">
                  <c:v>100.27025356990582</c:v>
                </c:pt>
                <c:pt idx="11">
                  <c:v>100.55304029456367</c:v>
                </c:pt>
                <c:pt idx="12">
                  <c:v>100.84702628705176</c:v>
                </c:pt>
                <c:pt idx="13">
                  <c:v>100.14321267359587</c:v>
                </c:pt>
                <c:pt idx="14">
                  <c:v>99.495920126068583</c:v>
                </c:pt>
                <c:pt idx="15">
                  <c:v>98.899398908791795</c:v>
                </c:pt>
                <c:pt idx="16">
                  <c:v>98.348581184956203</c:v>
                </c:pt>
                <c:pt idx="17">
                  <c:v>97.92496748650143</c:v>
                </c:pt>
                <c:pt idx="18">
                  <c:v>97.61087715834681</c:v>
                </c:pt>
                <c:pt idx="19">
                  <c:v>97.314189692082948</c:v>
                </c:pt>
                <c:pt idx="20">
                  <c:v>97.033840707018399</c:v>
                </c:pt>
                <c:pt idx="21">
                  <c:v>96.768834956340001</c:v>
                </c:pt>
                <c:pt idx="22">
                  <c:v>96.518241819610509</c:v>
                </c:pt>
                <c:pt idx="23">
                  <c:v>96.281191044323791</c:v>
                </c:pt>
                <c:pt idx="24">
                  <c:v>96.05686873318187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D$2:$D$26</c:f>
              <c:numCache>
                <c:formatCode>General</c:formatCode>
                <c:ptCount val="25"/>
                <c:pt idx="0">
                  <c:v>98.605772214818188</c:v>
                </c:pt>
                <c:pt idx="1">
                  <c:v>97.490737970131718</c:v>
                </c:pt>
                <c:pt idx="2">
                  <c:v>96.69035233145685</c:v>
                </c:pt>
                <c:pt idx="3">
                  <c:v>96.143322971378737</c:v>
                </c:pt>
                <c:pt idx="4">
                  <c:v>95.801064924497055</c:v>
                </c:pt>
                <c:pt idx="5">
                  <c:v>96.640846243483821</c:v>
                </c:pt>
                <c:pt idx="6">
                  <c:v>97.481260700559218</c:v>
                </c:pt>
                <c:pt idx="7">
                  <c:v>98.321658305389334</c:v>
                </c:pt>
                <c:pt idx="8">
                  <c:v>99.161428155416644</c:v>
                </c:pt>
                <c:pt idx="9">
                  <c:v>100</c:v>
                </c:pt>
                <c:pt idx="10">
                  <c:v>100.83684470352068</c:v>
                </c:pt>
                <c:pt idx="11">
                  <c:v>101.67147388612037</c:v>
                </c:pt>
                <c:pt idx="12">
                  <c:v>102.50343896224526</c:v>
                </c:pt>
                <c:pt idx="13">
                  <c:v>102.29764251247222</c:v>
                </c:pt>
                <c:pt idx="14">
                  <c:v>102.12730144817696</c:v>
                </c:pt>
                <c:pt idx="15">
                  <c:v>101.98831295884577</c:v>
                </c:pt>
                <c:pt idx="16">
                  <c:v>101.87706574177137</c:v>
                </c:pt>
                <c:pt idx="17">
                  <c:v>101.88024151539383</c:v>
                </c:pt>
                <c:pt idx="18">
                  <c:v>101.98177507597936</c:v>
                </c:pt>
                <c:pt idx="19">
                  <c:v>102.08669954409334</c:v>
                </c:pt>
                <c:pt idx="20">
                  <c:v>102.19473702204493</c:v>
                </c:pt>
                <c:pt idx="21">
                  <c:v>102.30561870161556</c:v>
                </c:pt>
                <c:pt idx="22">
                  <c:v>102.41908582162682</c:v>
                </c:pt>
                <c:pt idx="23">
                  <c:v>102.53489032199967</c:v>
                </c:pt>
                <c:pt idx="24">
                  <c:v>102.652795250278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E$2:$E$26</c:f>
              <c:numCache>
                <c:formatCode>General</c:formatCode>
                <c:ptCount val="25"/>
                <c:pt idx="0">
                  <c:v>0.70562471616170097</c:v>
                </c:pt>
                <c:pt idx="1">
                  <c:v>0.71130215654431039</c:v>
                </c:pt>
                <c:pt idx="2">
                  <c:v>0.71676474582445593</c:v>
                </c:pt>
                <c:pt idx="3">
                  <c:v>0.72202445342288757</c:v>
                </c:pt>
                <c:pt idx="4">
                  <c:v>0.72709237587643571</c:v>
                </c:pt>
                <c:pt idx="5">
                  <c:v>0.7319788149833929</c:v>
                </c:pt>
                <c:pt idx="6">
                  <c:v>0.7366933477013633</c:v>
                </c:pt>
                <c:pt idx="7">
                  <c:v>0.74124488879554873</c:v>
                </c:pt>
                <c:pt idx="8">
                  <c:v>0.74564174709978759</c:v>
                </c:pt>
                <c:pt idx="9">
                  <c:v>0.74989167613738505</c:v>
                </c:pt>
                <c:pt idx="10">
                  <c:v>0.75400191975057518</c:v>
                </c:pt>
                <c:pt idx="11">
                  <c:v>0.75797925330351656</c:v>
                </c:pt>
                <c:pt idx="12">
                  <c:v>0.76183002095182972</c:v>
                </c:pt>
                <c:pt idx="13">
                  <c:v>0.76556016940990601</c:v>
                </c:pt>
                <c:pt idx="14">
                  <c:v>0.76917527859402457</c:v>
                </c:pt>
                <c:pt idx="15">
                  <c:v>0.77268058947338647</c:v>
                </c:pt>
                <c:pt idx="16">
                  <c:v>0.77608102942142843</c:v>
                </c:pt>
                <c:pt idx="17">
                  <c:v>0.77938123532531312</c:v>
                </c:pt>
                <c:pt idx="18">
                  <c:v>0.78258557468151779</c:v>
                </c:pt>
                <c:pt idx="19">
                  <c:v>0.78569816487934863</c:v>
                </c:pt>
                <c:pt idx="20">
                  <c:v>0.78872289085141145</c:v>
                </c:pt>
                <c:pt idx="21">
                  <c:v>0.79166342125013922</c:v>
                </c:pt>
                <c:pt idx="22">
                  <c:v>0.79452322329200409</c:v>
                </c:pt>
                <c:pt idx="23">
                  <c:v>0.79730557639570077</c:v>
                </c:pt>
                <c:pt idx="24">
                  <c:v>0.800013584727087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5 Sensitive Disposable Razors 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Schick Xtreme 3 Sensitive Disposable Razors 8 Pack (1.7%)</c:v>
                </c:pt>
                <c:pt idx="3">
                  <c:v>Gillette Mach 3 Sensitive Skin Disposable Razors 3 Pack (2.4%)</c:v>
                </c:pt>
                <c:pt idx="4">
                  <c:v>Equate Speed 3 Disposable Razors 4 Pack (2.3%)</c:v>
                </c:pt>
                <c:pt idx="5">
                  <c:v>Schick Hydro 5 Blade Sensitive 1 Handle + 3 Cartridges (2.0%)</c:v>
                </c:pt>
                <c:pt idx="6">
                  <c:v>Gillette Sensor 3 Sensitive Disposable Razors 4 Pack (2.3%)</c:v>
                </c:pt>
                <c:pt idx="7">
                  <c:v>None Razors (12.2%)</c:v>
                </c:pt>
                <c:pt idx="8">
                  <c:v>Bic Flex 4 Sensitive Skin Disposable Razors 3 Pack (1.7%)</c:v>
                </c:pt>
                <c:pt idx="9">
                  <c:v>Equate Caliber 5 Disposable Razors 3 Pack (2.2%)</c:v>
                </c:pt>
              </c:strCache>
            </c:strRef>
          </c:cat>
          <c:val>
            <c:numRef>
              <c:f>Sheet1!$B$2:$B$11</c:f>
              <c:numCache>
                <c:formatCode>General</c:formatCode>
                <c:ptCount val="10"/>
                <c:pt idx="0">
                  <c:v>0.13287899060904398</c:v>
                </c:pt>
                <c:pt idx="1">
                  <c:v>7.3598621324110311E-2</c:v>
                </c:pt>
                <c:pt idx="2">
                  <c:v>6.0457032042970739E-2</c:v>
                </c:pt>
                <c:pt idx="3">
                  <c:v>5.1968662154453282E-2</c:v>
                </c:pt>
                <c:pt idx="4">
                  <c:v>4.5650616878325841E-2</c:v>
                </c:pt>
                <c:pt idx="5">
                  <c:v>4.2417816948552678E-2</c:v>
                </c:pt>
                <c:pt idx="6">
                  <c:v>4.1171503652426819E-2</c:v>
                </c:pt>
                <c:pt idx="7">
                  <c:v>3.8161390920297626E-2</c:v>
                </c:pt>
                <c:pt idx="8">
                  <c:v>3.5147078157988294E-2</c:v>
                </c:pt>
                <c:pt idx="9">
                  <c:v>3.335826431557421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5 Sensitive Disposable Razors 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3 Sensitive Disposable Razors 8 Pack (1.7%)</c:v>
                </c:pt>
                <c:pt idx="2">
                  <c:v>Schick Xtreme 2 Sensitive Disposable Razors 12 Pack (2.7%)</c:v>
                </c:pt>
                <c:pt idx="3">
                  <c:v>Schick Hydro 5 Blade Sensitive 1 Handle + 3 Cartridges (2.0%)</c:v>
                </c:pt>
                <c:pt idx="4">
                  <c:v>None Razors (12.2%)</c:v>
                </c:pt>
                <c:pt idx="5">
                  <c:v>Gillette Mach 3 Sensitive Skin Disposable Razors 3 Pack (2.4%)</c:v>
                </c:pt>
                <c:pt idx="6">
                  <c:v>Gillette Sensor 3 Sensitive Disposable Razors 4 Pack (2.3%)</c:v>
                </c:pt>
                <c:pt idx="7">
                  <c:v>Equate Speed 3 Disposable Razors 4 Pack (2.3%)</c:v>
                </c:pt>
                <c:pt idx="8">
                  <c:v>Bic Flex 4 Sensitive Skin Disposable Razors 3 Pack (1.7%)</c:v>
                </c:pt>
                <c:pt idx="9">
                  <c:v>Equate 2 Blade Disposable Razors 12 Pack (5.7%)</c:v>
                </c:pt>
              </c:strCache>
            </c:strRef>
          </c:cat>
          <c:val>
            <c:numRef>
              <c:f>Sheet1!$B$2:$B$11</c:f>
              <c:numCache>
                <c:formatCode>General</c:formatCode>
                <c:ptCount val="10"/>
                <c:pt idx="0">
                  <c:v>0.10987624571931266</c:v>
                </c:pt>
                <c:pt idx="1">
                  <c:v>6.970405151081871E-2</c:v>
                </c:pt>
                <c:pt idx="2">
                  <c:v>5.7668755165342762E-2</c:v>
                </c:pt>
                <c:pt idx="3">
                  <c:v>5.3284367467936335E-2</c:v>
                </c:pt>
                <c:pt idx="4">
                  <c:v>4.8105323322574507E-2</c:v>
                </c:pt>
                <c:pt idx="5">
                  <c:v>4.2036718323609036E-2</c:v>
                </c:pt>
                <c:pt idx="6">
                  <c:v>3.6746281974178098E-2</c:v>
                </c:pt>
                <c:pt idx="7">
                  <c:v>3.2587017542627057E-2</c:v>
                </c:pt>
                <c:pt idx="8">
                  <c:v>3.2494031266497289E-2</c:v>
                </c:pt>
                <c:pt idx="9">
                  <c:v>3.231446094716226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B$2:$B$42</c:f>
              <c:numCache>
                <c:formatCode>General</c:formatCode>
                <c:ptCount val="41"/>
                <c:pt idx="0">
                  <c:v>121.85749948130582</c:v>
                </c:pt>
                <c:pt idx="1">
                  <c:v>119.27223043060158</c:v>
                </c:pt>
                <c:pt idx="2">
                  <c:v>116.81029700680496</c:v>
                </c:pt>
                <c:pt idx="3">
                  <c:v>114.46342037981039</c:v>
                </c:pt>
                <c:pt idx="4">
                  <c:v>112.22395857448586</c:v>
                </c:pt>
                <c:pt idx="5">
                  <c:v>110.08485705775006</c:v>
                </c:pt>
                <c:pt idx="6">
                  <c:v>108.03960255386684</c:v>
                </c:pt>
                <c:pt idx="7">
                  <c:v>106.08218002300089</c:v>
                </c:pt>
                <c:pt idx="8">
                  <c:v>104.20703270797638</c:v>
                </c:pt>
                <c:pt idx="9">
                  <c:v>103.57906463949182</c:v>
                </c:pt>
                <c:pt idx="10">
                  <c:v>102.96042231636355</c:v>
                </c:pt>
                <c:pt idx="11">
                  <c:v>102.35089745369964</c:v>
                </c:pt>
                <c:pt idx="12">
                  <c:v>101.75028738528466</c:v>
                </c:pt>
                <c:pt idx="13">
                  <c:v>101.15839489190739</c:v>
                </c:pt>
                <c:pt idx="14">
                  <c:v>100.5750280356642</c:v>
                </c:pt>
                <c:pt idx="15">
                  <c:v>100</c:v>
                </c:pt>
                <c:pt idx="16">
                  <c:v>99.433128935242294</c:v>
                </c:pt>
                <c:pt idx="17">
                  <c:v>98.874237809408712</c:v>
                </c:pt>
                <c:pt idx="18">
                  <c:v>98.32315426407871</c:v>
                </c:pt>
                <c:pt idx="19">
                  <c:v>97.779710475124332</c:v>
                </c:pt>
                <c:pt idx="20">
                  <c:v>97.243743018103643</c:v>
                </c:pt>
                <c:pt idx="21">
                  <c:v>96.71509273814263</c:v>
                </c:pt>
                <c:pt idx="22">
                  <c:v>96.193604624126095</c:v>
                </c:pt>
                <c:pt idx="23">
                  <c:v>95.679127687032505</c:v>
                </c:pt>
                <c:pt idx="24">
                  <c:v>95.171514842252407</c:v>
                </c:pt>
                <c:pt idx="25">
                  <c:v>94.670622795745402</c:v>
                </c:pt>
                <c:pt idx="26">
                  <c:v>94.325138552817862</c:v>
                </c:pt>
                <c:pt idx="27">
                  <c:v>93.981944852999248</c:v>
                </c:pt>
                <c:pt idx="28">
                  <c:v>93.64101842712644</c:v>
                </c:pt>
                <c:pt idx="29">
                  <c:v>93.302336331618292</c:v>
                </c:pt>
                <c:pt idx="30">
                  <c:v>92.965875942667338</c:v>
                </c:pt>
                <c:pt idx="31">
                  <c:v>92.631614950553612</c:v>
                </c:pt>
                <c:pt idx="32">
                  <c:v>92.299531354083271</c:v>
                </c:pt>
                <c:pt idx="33">
                  <c:v>91.969603455145986</c:v>
                </c:pt>
                <c:pt idx="34">
                  <c:v>91.641809853383421</c:v>
                </c:pt>
                <c:pt idx="35">
                  <c:v>91.316129440977406</c:v>
                </c:pt>
                <c:pt idx="36">
                  <c:v>90.992541397543874</c:v>
                </c:pt>
                <c:pt idx="37">
                  <c:v>90.671025185135818</c:v>
                </c:pt>
                <c:pt idx="38">
                  <c:v>90.351560543351141</c:v>
                </c:pt>
                <c:pt idx="39">
                  <c:v>90.034127484542964</c:v>
                </c:pt>
                <c:pt idx="40">
                  <c:v>89.71870628913035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C$2:$C$42</c:f>
              <c:numCache>
                <c:formatCode>General</c:formatCode>
                <c:ptCount val="41"/>
                <c:pt idx="0">
                  <c:v>103.68494675657854</c:v>
                </c:pt>
                <c:pt idx="1">
                  <c:v>102.67933945600929</c:v>
                </c:pt>
                <c:pt idx="2">
                  <c:v>101.7291412040737</c:v>
                </c:pt>
                <c:pt idx="3">
                  <c:v>100.83078502871503</c:v>
                </c:pt>
                <c:pt idx="4">
                  <c:v>99.9809380496892</c:v>
                </c:pt>
                <c:pt idx="5">
                  <c:v>99.176488967873752</c:v>
                </c:pt>
                <c:pt idx="6">
                  <c:v>98.414535521910622</c:v>
                </c:pt>
                <c:pt idx="7">
                  <c:v>97.692372077837263</c:v>
                </c:pt>
                <c:pt idx="8">
                  <c:v>97.007477484407744</c:v>
                </c:pt>
                <c:pt idx="9">
                  <c:v>97.445683328290599</c:v>
                </c:pt>
                <c:pt idx="10">
                  <c:v>97.880191985519687</c:v>
                </c:pt>
                <c:pt idx="11">
                  <c:v>98.311084107511633</c:v>
                </c:pt>
                <c:pt idx="12">
                  <c:v>98.73843741176961</c:v>
                </c:pt>
                <c:pt idx="13">
                  <c:v>99.162326798448902</c:v>
                </c:pt>
                <c:pt idx="14">
                  <c:v>99.582824462273294</c:v>
                </c:pt>
                <c:pt idx="15">
                  <c:v>100</c:v>
                </c:pt>
                <c:pt idx="16">
                  <c:v>100.41392051360249</c:v>
                </c:pt>
                <c:pt idx="17">
                  <c:v>100.82465070934823</c:v>
                </c:pt>
                <c:pt idx="18">
                  <c:v>101.23225299293861</c:v>
                </c:pt>
                <c:pt idx="19">
                  <c:v>101.63678756086492</c:v>
                </c:pt>
                <c:pt idx="20">
                  <c:v>102.03831248812696</c:v>
                </c:pt>
                <c:pt idx="21">
                  <c:v>102.43688381246807</c:v>
                </c:pt>
                <c:pt idx="22">
                  <c:v>102.8325556152586</c:v>
                </c:pt>
                <c:pt idx="23">
                  <c:v>103.2253800991617</c:v>
                </c:pt>
                <c:pt idx="24">
                  <c:v>103.6154076627072</c:v>
                </c:pt>
                <c:pt idx="25">
                  <c:v>104.00268697189993</c:v>
                </c:pt>
                <c:pt idx="26">
                  <c:v>104.55019180151072</c:v>
                </c:pt>
                <c:pt idx="27">
                  <c:v>105.09329903180694</c:v>
                </c:pt>
                <c:pt idx="28">
                  <c:v>105.63205382814623</c:v>
                </c:pt>
                <c:pt idx="29">
                  <c:v>106.16650073053981</c:v>
                </c:pt>
                <c:pt idx="30">
                  <c:v>106.69668366482883</c:v>
                </c:pt>
                <c:pt idx="31">
                  <c:v>107.22264595360957</c:v>
                </c:pt>
                <c:pt idx="32">
                  <c:v>107.74443032692491</c:v>
                </c:pt>
                <c:pt idx="33">
                  <c:v>108.26207893272215</c:v>
                </c:pt>
                <c:pt idx="34">
                  <c:v>108.77563334707871</c:v>
                </c:pt>
                <c:pt idx="35">
                  <c:v>109.28513458421476</c:v>
                </c:pt>
                <c:pt idx="36">
                  <c:v>109.79062310628494</c:v>
                </c:pt>
                <c:pt idx="37">
                  <c:v>110.29213883296205</c:v>
                </c:pt>
                <c:pt idx="38">
                  <c:v>110.78972115081649</c:v>
                </c:pt>
                <c:pt idx="39">
                  <c:v>111.28340892249547</c:v>
                </c:pt>
                <c:pt idx="40">
                  <c:v>111.7732404957097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D$2:$D$42</c:f>
              <c:numCache>
                <c:formatCode>General</c:formatCode>
                <c:ptCount val="41"/>
                <c:pt idx="0">
                  <c:v>95.71232250364848</c:v>
                </c:pt>
                <c:pt idx="1">
                  <c:v>95.387769641224267</c:v>
                </c:pt>
                <c:pt idx="2">
                  <c:v>95.089660627581281</c:v>
                </c:pt>
                <c:pt idx="3">
                  <c:v>94.816430109787703</c:v>
                </c:pt>
                <c:pt idx="4">
                  <c:v>94.566575715503248</c:v>
                </c:pt>
                <c:pt idx="5">
                  <c:v>94.338661254804407</c:v>
                </c:pt>
                <c:pt idx="6">
                  <c:v>94.13131849392704</c:v>
                </c:pt>
                <c:pt idx="7">
                  <c:v>93.943247766629014</c:v>
                </c:pt>
                <c:pt idx="8">
                  <c:v>93.773217654357509</c:v>
                </c:pt>
                <c:pt idx="9">
                  <c:v>94.689688153984036</c:v>
                </c:pt>
                <c:pt idx="10">
                  <c:v>95.596852916001168</c:v>
                </c:pt>
                <c:pt idx="11">
                  <c:v>96.494915750175394</c:v>
                </c:pt>
                <c:pt idx="12">
                  <c:v>97.384073926877264</c:v>
                </c:pt>
                <c:pt idx="13">
                  <c:v>98.264518412158637</c:v>
                </c:pt>
                <c:pt idx="14">
                  <c:v>99.136434093987475</c:v>
                </c:pt>
                <c:pt idx="15">
                  <c:v>100</c:v>
                </c:pt>
                <c:pt idx="16">
                  <c:v>100.85538950709608</c:v>
                </c:pt>
                <c:pt idx="17">
                  <c:v>101.70277054320198</c:v>
                </c:pt>
                <c:pt idx="18">
                  <c:v>102.54230578151197</c:v>
                </c:pt>
                <c:pt idx="19">
                  <c:v>103.37415282749609</c:v>
                </c:pt>
                <c:pt idx="20">
                  <c:v>104.19846439895232</c:v>
                </c:pt>
                <c:pt idx="21">
                  <c:v>105.01538849938044</c:v>
                </c:pt>
                <c:pt idx="22">
                  <c:v>105.82506858492886</c:v>
                </c:pt>
                <c:pt idx="23">
                  <c:v>106.62764372516271</c:v>
                </c:pt>
                <c:pt idx="24">
                  <c:v>107.42324875788636</c:v>
                </c:pt>
                <c:pt idx="25">
                  <c:v>108.21201443825457</c:v>
                </c:pt>
                <c:pt idx="26">
                  <c:v>109.16631066802391</c:v>
                </c:pt>
                <c:pt idx="27">
                  <c:v>110.11340720103834</c:v>
                </c:pt>
                <c:pt idx="28">
                  <c:v>111.05337473093182</c:v>
                </c:pt>
                <c:pt idx="29">
                  <c:v>111.98628301077824</c:v>
                </c:pt>
                <c:pt idx="30">
                  <c:v>112.91220086932373</c:v>
                </c:pt>
                <c:pt idx="31">
                  <c:v>113.83119622686768</c:v>
                </c:pt>
                <c:pt idx="32">
                  <c:v>114.74333611081258</c:v>
                </c:pt>
                <c:pt idx="33">
                  <c:v>115.64868667088517</c:v>
                </c:pt>
                <c:pt idx="34">
                  <c:v>116.54731319403207</c:v>
                </c:pt>
                <c:pt idx="35">
                  <c:v>117.43928011901225</c:v>
                </c:pt>
                <c:pt idx="36">
                  <c:v>118.32465105067851</c:v>
                </c:pt>
                <c:pt idx="37">
                  <c:v>119.20348877396516</c:v>
                </c:pt>
                <c:pt idx="38">
                  <c:v>120.07585526758595</c:v>
                </c:pt>
                <c:pt idx="39">
                  <c:v>120.94181171744944</c:v>
                </c:pt>
                <c:pt idx="40">
                  <c:v>121.8014185298001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E$2:$E$42</c:f>
              <c:numCache>
                <c:formatCode>General</c:formatCode>
                <c:ptCount val="41"/>
                <c:pt idx="0">
                  <c:v>0.64716598271826753</c:v>
                </c:pt>
                <c:pt idx="1">
                  <c:v>0.65127587226144434</c:v>
                </c:pt>
                <c:pt idx="2">
                  <c:v>0.65529111840696586</c:v>
                </c:pt>
                <c:pt idx="3">
                  <c:v>0.65921495314336931</c:v>
                </c:pt>
                <c:pt idx="4">
                  <c:v>0.66305046295604941</c:v>
                </c:pt>
                <c:pt idx="5">
                  <c:v>0.66680059692426252</c:v>
                </c:pt>
                <c:pt idx="6">
                  <c:v>0.67046817428337901</c:v>
                </c:pt>
                <c:pt idx="7">
                  <c:v>0.67405589149314094</c:v>
                </c:pt>
                <c:pt idx="8">
                  <c:v>0.67756632884916523</c:v>
                </c:pt>
                <c:pt idx="9">
                  <c:v>0.68100195667176322</c:v>
                </c:pt>
                <c:pt idx="10">
                  <c:v>0.68436514110326829</c:v>
                </c:pt>
                <c:pt idx="11">
                  <c:v>0.68765814954246218</c:v>
                </c:pt>
                <c:pt idx="12">
                  <c:v>0.69088315574233339</c:v>
                </c:pt>
                <c:pt idx="13">
                  <c:v>0.69404224459524777</c:v>
                </c:pt>
                <c:pt idx="14">
                  <c:v>0.69713741662766815</c:v>
                </c:pt>
                <c:pt idx="15">
                  <c:v>0.70017059222478706</c:v>
                </c:pt>
                <c:pt idx="16">
                  <c:v>0.70314361560381755</c:v>
                </c:pt>
                <c:pt idx="17">
                  <c:v>0.70605825855321547</c:v>
                </c:pt>
                <c:pt idx="18">
                  <c:v>0.70891622395376763</c:v>
                </c:pt>
                <c:pt idx="19">
                  <c:v>0.71171914909624456</c:v>
                </c:pt>
                <c:pt idx="20">
                  <c:v>0.71446860880920371</c:v>
                </c:pt>
                <c:pt idx="21">
                  <c:v>0.71716611840949451</c:v>
                </c:pt>
                <c:pt idx="22">
                  <c:v>0.71981313648708467</c:v>
                </c:pt>
                <c:pt idx="23">
                  <c:v>0.72241106753495588</c:v>
                </c:pt>
                <c:pt idx="24">
                  <c:v>0.72496126443403763</c:v>
                </c:pt>
                <c:pt idx="25">
                  <c:v>0.72746503080241232</c:v>
                </c:pt>
                <c:pt idx="26">
                  <c:v>0.7299236232173657</c:v>
                </c:pt>
                <c:pt idx="27">
                  <c:v>0.73233825331823854</c:v>
                </c:pt>
                <c:pt idx="28">
                  <c:v>0.73471008979747443</c:v>
                </c:pt>
                <c:pt idx="29">
                  <c:v>0.73704026028673697</c:v>
                </c:pt>
                <c:pt idx="30">
                  <c:v>0.73932985314449273</c:v>
                </c:pt>
                <c:pt idx="31">
                  <c:v>0.74157991915101418</c:v>
                </c:pt>
                <c:pt idx="32">
                  <c:v>0.74379147311634564</c:v>
                </c:pt>
                <c:pt idx="33">
                  <c:v>0.74596549540640644</c:v>
                </c:pt>
                <c:pt idx="34">
                  <c:v>0.7481029333920487</c:v>
                </c:pt>
                <c:pt idx="35">
                  <c:v>0.7502047028255735</c:v>
                </c:pt>
                <c:pt idx="36">
                  <c:v>0.75227168914890341</c:v>
                </c:pt>
                <c:pt idx="37">
                  <c:v>0.75430474873734099</c:v>
                </c:pt>
                <c:pt idx="38">
                  <c:v>0.75630471008258038</c:v>
                </c:pt>
                <c:pt idx="39">
                  <c:v>0.75827237491840926</c:v>
                </c:pt>
                <c:pt idx="40">
                  <c:v>0.7602085192923108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5 Sensitive Disposable Razors 8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3 Sensitive Disposable Razors 8 Pack (1.7%)</c:v>
                </c:pt>
                <c:pt idx="2">
                  <c:v>Schick Xtreme 2 Sensitive Disposable Razors 12 Pack (2.7%)</c:v>
                </c:pt>
                <c:pt idx="3">
                  <c:v>Schick Xtreme 3 Sensitive Disposable Razors 12 Pack (0.9%)</c:v>
                </c:pt>
                <c:pt idx="4">
                  <c:v>None Razors (12.2%)</c:v>
                </c:pt>
                <c:pt idx="5">
                  <c:v>Gillette Sensor 3 Sensitive Disposable Razors 12 Pack (1.6%)</c:v>
                </c:pt>
                <c:pt idx="6">
                  <c:v>Equate 2 Blade Disposable Razors 12 Pack (5.7%)</c:v>
                </c:pt>
                <c:pt idx="7">
                  <c:v>Gillette Mach 3 Sensitive Skin Disposable Razors 3 Pack (2.4%)</c:v>
                </c:pt>
                <c:pt idx="8">
                  <c:v>Gillette Sensor 3 Sensitive Disposable Razors 4 Pack (2.3%)</c:v>
                </c:pt>
                <c:pt idx="9">
                  <c:v>Gillette Sensor 3 Disposable Razors 12 Pack (1.6%)</c:v>
                </c:pt>
              </c:strCache>
            </c:strRef>
          </c:cat>
          <c:val>
            <c:numRef>
              <c:f>Sheet1!$B$2:$B$11</c:f>
              <c:numCache>
                <c:formatCode>General</c:formatCode>
                <c:ptCount val="10"/>
                <c:pt idx="0">
                  <c:v>0.105804563099734</c:v>
                </c:pt>
                <c:pt idx="1">
                  <c:v>9.3077208058580913E-2</c:v>
                </c:pt>
                <c:pt idx="2">
                  <c:v>7.8274536727690136E-2</c:v>
                </c:pt>
                <c:pt idx="3">
                  <c:v>5.8065754701642755E-2</c:v>
                </c:pt>
                <c:pt idx="4">
                  <c:v>4.1939796919261231E-2</c:v>
                </c:pt>
                <c:pt idx="5">
                  <c:v>4.1755318439200918E-2</c:v>
                </c:pt>
                <c:pt idx="6">
                  <c:v>3.9271973329078773E-2</c:v>
                </c:pt>
                <c:pt idx="7">
                  <c:v>3.3488803455787725E-2</c:v>
                </c:pt>
                <c:pt idx="8">
                  <c:v>2.919633503233604E-2</c:v>
                </c:pt>
                <c:pt idx="9">
                  <c:v>2.852597802531955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5 Sensitive Disposable Razors 8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3 Sensitive Disposable Razors 8 Pack (1.7%)</c:v>
                </c:pt>
                <c:pt idx="2">
                  <c:v>Schick Xtreme 2 Sensitive Disposable Razors 12 Pack (2.7%)</c:v>
                </c:pt>
                <c:pt idx="3">
                  <c:v>Schick Xtreme 3 Sensitive Disposable Razors 12 Pack (0.9%)</c:v>
                </c:pt>
                <c:pt idx="4">
                  <c:v>None Razors (12.2%)</c:v>
                </c:pt>
                <c:pt idx="5">
                  <c:v>Gillette Sensor 3 Sensitive Disposable Razors 12 Pack (1.6%)</c:v>
                </c:pt>
                <c:pt idx="6">
                  <c:v>Schick Hydro 5 Blade Sensitive 1 Handle + 3 Cartridges (2.0%)</c:v>
                </c:pt>
                <c:pt idx="7">
                  <c:v>Gillette Mach 3 Sensitive Skin Disposable Razors 3 Pack (2.4%)</c:v>
                </c:pt>
                <c:pt idx="8">
                  <c:v>Gillette Sensor 3 Disposable Razors 12 Pack (1.6%)</c:v>
                </c:pt>
                <c:pt idx="9">
                  <c:v>Gillette Sensor 3 Sensitive Disposable Razors 8 Pack (1.8%)</c:v>
                </c:pt>
              </c:strCache>
            </c:strRef>
          </c:cat>
          <c:val>
            <c:numRef>
              <c:f>Sheet1!$B$2:$B$11</c:f>
              <c:numCache>
                <c:formatCode>General</c:formatCode>
                <c:ptCount val="10"/>
                <c:pt idx="0">
                  <c:v>9.7749592715855371E-2</c:v>
                </c:pt>
                <c:pt idx="1">
                  <c:v>9.5848503151141407E-2</c:v>
                </c:pt>
                <c:pt idx="2">
                  <c:v>7.4149703884636764E-2</c:v>
                </c:pt>
                <c:pt idx="3">
                  <c:v>5.6647279570254949E-2</c:v>
                </c:pt>
                <c:pt idx="4">
                  <c:v>4.6380172409524169E-2</c:v>
                </c:pt>
                <c:pt idx="5">
                  <c:v>4.1874991665449696E-2</c:v>
                </c:pt>
                <c:pt idx="6">
                  <c:v>3.6696569859532915E-2</c:v>
                </c:pt>
                <c:pt idx="7">
                  <c:v>3.3883157391761169E-2</c:v>
                </c:pt>
                <c:pt idx="8">
                  <c:v>3.0295007801491414E-2</c:v>
                </c:pt>
                <c:pt idx="9">
                  <c:v>2.911984311984108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B$2:$B$21</c:f>
              <c:numCache>
                <c:formatCode>General</c:formatCode>
                <c:ptCount val="20"/>
                <c:pt idx="0">
                  <c:v>115.52052394798173</c:v>
                </c:pt>
                <c:pt idx="1">
                  <c:v>111.82104193519055</c:v>
                </c:pt>
                <c:pt idx="2">
                  <c:v>108.44317551589893</c:v>
                </c:pt>
                <c:pt idx="3">
                  <c:v>106.63787084803957</c:v>
                </c:pt>
                <c:pt idx="4">
                  <c:v>104.89391717145264</c:v>
                </c:pt>
                <c:pt idx="5">
                  <c:v>103.20819940011387</c:v>
                </c:pt>
                <c:pt idx="6">
                  <c:v>101.577803187725</c:v>
                </c:pt>
                <c:pt idx="7">
                  <c:v>100</c:v>
                </c:pt>
                <c:pt idx="8">
                  <c:v>95.567898287083807</c:v>
                </c:pt>
                <c:pt idx="9">
                  <c:v>91.694679121063203</c:v>
                </c:pt>
                <c:pt idx="10">
                  <c:v>88.276623583911757</c:v>
                </c:pt>
                <c:pt idx="11">
                  <c:v>85.232564732865441</c:v>
                </c:pt>
                <c:pt idx="12">
                  <c:v>82.498592922396028</c:v>
                </c:pt>
                <c:pt idx="13">
                  <c:v>80.684839025416167</c:v>
                </c:pt>
                <c:pt idx="14">
                  <c:v>78.961199712025888</c:v>
                </c:pt>
                <c:pt idx="15">
                  <c:v>77.320861757117058</c:v>
                </c:pt>
                <c:pt idx="16">
                  <c:v>75.757650612167822</c:v>
                </c:pt>
                <c:pt idx="17">
                  <c:v>74.265963683085872</c:v>
                </c:pt>
                <c:pt idx="18">
                  <c:v>72.840710913006717</c:v>
                </c:pt>
                <c:pt idx="19">
                  <c:v>71.47726187655830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C$2:$C$21</c:f>
              <c:numCache>
                <c:formatCode>General</c:formatCode>
                <c:ptCount val="20"/>
                <c:pt idx="0">
                  <c:v>99.390708230162787</c:v>
                </c:pt>
                <c:pt idx="1">
                  <c:v>98.441409993741757</c:v>
                </c:pt>
                <c:pt idx="2">
                  <c:v>97.633648172780028</c:v>
                </c:pt>
                <c:pt idx="3">
                  <c:v>98.134571434236122</c:v>
                </c:pt>
                <c:pt idx="4">
                  <c:v>98.620999772529615</c:v>
                </c:pt>
                <c:pt idx="5">
                  <c:v>99.093627666109271</c:v>
                </c:pt>
                <c:pt idx="6">
                  <c:v>99.55309654274896</c:v>
                </c:pt>
                <c:pt idx="7">
                  <c:v>100</c:v>
                </c:pt>
                <c:pt idx="8">
                  <c:v>97.480697890012578</c:v>
                </c:pt>
                <c:pt idx="9">
                  <c:v>95.364667686297096</c:v>
                </c:pt>
                <c:pt idx="10">
                  <c:v>93.575664675867557</c:v>
                </c:pt>
                <c:pt idx="11">
                  <c:v>92.053460493439459</c:v>
                </c:pt>
                <c:pt idx="12">
                  <c:v>90.750285942678957</c:v>
                </c:pt>
                <c:pt idx="13">
                  <c:v>90.365705141596436</c:v>
                </c:pt>
                <c:pt idx="14">
                  <c:v>90.011428883047273</c:v>
                </c:pt>
                <c:pt idx="15">
                  <c:v>89.684948698178388</c:v>
                </c:pt>
                <c:pt idx="16">
                  <c:v>89.383966330155303</c:v>
                </c:pt>
                <c:pt idx="17">
                  <c:v>89.10637729355571</c:v>
                </c:pt>
                <c:pt idx="18">
                  <c:v>88.850255376135948</c:v>
                </c:pt>
                <c:pt idx="19">
                  <c:v>88.61383811591704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D$2:$D$21</c:f>
              <c:numCache>
                <c:formatCode>General</c:formatCode>
                <c:ptCount val="20"/>
                <c:pt idx="0">
                  <c:v>87.529775126055384</c:v>
                </c:pt>
                <c:pt idx="1">
                  <c:v>88.597304535764735</c:v>
                </c:pt>
                <c:pt idx="2">
                  <c:v>89.674675811994589</c:v>
                </c:pt>
                <c:pt idx="3">
                  <c:v>91.873029535232433</c:v>
                </c:pt>
                <c:pt idx="4">
                  <c:v>94.001384133713557</c:v>
                </c:pt>
                <c:pt idx="5">
                  <c:v>96.063211066209618</c:v>
                </c:pt>
                <c:pt idx="6">
                  <c:v>98.061744274875167</c:v>
                </c:pt>
                <c:pt idx="7">
                  <c:v>100</c:v>
                </c:pt>
                <c:pt idx="8">
                  <c:v>98.875927699116048</c:v>
                </c:pt>
                <c:pt idx="9">
                  <c:v>98.042599309663501</c:v>
                </c:pt>
                <c:pt idx="10">
                  <c:v>97.443561617850548</c:v>
                </c:pt>
                <c:pt idx="11">
                  <c:v>97.033675191621825</c:v>
                </c:pt>
                <c:pt idx="12">
                  <c:v>96.776806461149363</c:v>
                </c:pt>
                <c:pt idx="13">
                  <c:v>97.442002804369508</c:v>
                </c:pt>
                <c:pt idx="14">
                  <c:v>98.093584437120256</c:v>
                </c:pt>
                <c:pt idx="15">
                  <c:v>98.732209244355701</c:v>
                </c:pt>
                <c:pt idx="16">
                  <c:v>99.358429410591015</c:v>
                </c:pt>
                <c:pt idx="17">
                  <c:v>99.972712139410902</c:v>
                </c:pt>
                <c:pt idx="18">
                  <c:v>100.57545660205673</c:v>
                </c:pt>
                <c:pt idx="19">
                  <c:v>101.1670077620109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E$2:$E$21</c:f>
              <c:numCache>
                <c:formatCode>General</c:formatCode>
                <c:ptCount val="20"/>
                <c:pt idx="0">
                  <c:v>0.51084425002007749</c:v>
                </c:pt>
                <c:pt idx="1">
                  <c:v>0.52199945526477354</c:v>
                </c:pt>
                <c:pt idx="2">
                  <c:v>0.53265721545953904</c:v>
                </c:pt>
                <c:pt idx="3">
                  <c:v>0.54285007880829494</c:v>
                </c:pt>
                <c:pt idx="4">
                  <c:v>0.55260781458613295</c:v>
                </c:pt>
                <c:pt idx="5">
                  <c:v>0.56195770351850194</c:v>
                </c:pt>
                <c:pt idx="6">
                  <c:v>0.57092479249458195</c:v>
                </c:pt>
                <c:pt idx="7">
                  <c:v>0.57953211862307585</c:v>
                </c:pt>
                <c:pt idx="8">
                  <c:v>0.58780090685074371</c:v>
                </c:pt>
                <c:pt idx="9">
                  <c:v>0.59575074471283174</c:v>
                </c:pt>
                <c:pt idx="10">
                  <c:v>0.60339973724428231</c:v>
                </c:pt>
                <c:pt idx="11">
                  <c:v>0.61076464463064661</c:v>
                </c:pt>
                <c:pt idx="12">
                  <c:v>0.61786100480146455</c:v>
                </c:pt>
                <c:pt idx="13">
                  <c:v>0.62470324285336298</c:v>
                </c:pt>
                <c:pt idx="14">
                  <c:v>0.6313047689245439</c:v>
                </c:pt>
                <c:pt idx="15">
                  <c:v>0.63767806591806953</c:v>
                </c:pt>
                <c:pt idx="16">
                  <c:v>0.64383476828139885</c:v>
                </c:pt>
                <c:pt idx="17">
                  <c:v>0.64978573288822594</c:v>
                </c:pt>
                <c:pt idx="18">
                  <c:v>0.65554110293114742</c:v>
                </c:pt>
                <c:pt idx="19">
                  <c:v>0.6611103656161734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Schick</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Gillet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Harr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Dollar Shave Club</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Van Der Hage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7</c:f>
              <c:numCache>
                <c:formatCode>General</c:formatCode>
                <c:ptCount val="6"/>
                <c:pt idx="0">
                  <c:v>-0.37914986068510365</c:v>
                </c:pt>
                <c:pt idx="1">
                  <c:v>-0.45988348508424276</c:v>
                </c:pt>
                <c:pt idx="2">
                  <c:v>-0.48547360744653784</c:v>
                </c:pt>
                <c:pt idx="3">
                  <c:v>-0.16677709769353569</c:v>
                </c:pt>
                <c:pt idx="4">
                  <c:v>-0.14248303967598658</c:v>
                </c:pt>
                <c:pt idx="5">
                  <c:v>-6.334917176881337E-2</c:v>
                </c:pt>
              </c:numCache>
            </c:numRef>
          </c:xVal>
          <c:yVal>
            <c:numRef>
              <c:f>Sheet1!$B$2:$B$7</c:f>
              <c:numCache>
                <c:formatCode>General</c:formatCode>
                <c:ptCount val="6"/>
                <c:pt idx="0">
                  <c:v>-0.36318392883819334</c:v>
                </c:pt>
                <c:pt idx="1">
                  <c:v>-0.43259564749744223</c:v>
                </c:pt>
                <c:pt idx="2">
                  <c:v>-0.37269314104717466</c:v>
                </c:pt>
                <c:pt idx="3">
                  <c:v>-0.4081648518005464</c:v>
                </c:pt>
                <c:pt idx="4">
                  <c:v>-0.12323583840873109</c:v>
                </c:pt>
                <c:pt idx="5">
                  <c:v>-6.4395626158173708E-2</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3 Body &amp; Groin Disposable Razor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Schick Xtreme 3 Sensitive Disposable Razors 8 Pack (1.7%)</c:v>
                </c:pt>
                <c:pt idx="3">
                  <c:v>Gillette Mach 3 Sensitive Skin Disposable Razors 3 Pack (2.4%)</c:v>
                </c:pt>
                <c:pt idx="4">
                  <c:v>Equate 2 Blade Disposable Razors 5 Pack (5.5%)</c:v>
                </c:pt>
                <c:pt idx="5">
                  <c:v>Equate 2 Blade Disposable Razors 12 Pack (5.7%)</c:v>
                </c:pt>
                <c:pt idx="6">
                  <c:v>Equate Speed 3 Disposable Razors 4 Pack (2.3%)</c:v>
                </c:pt>
                <c:pt idx="7">
                  <c:v>Gillette Sensor 3 Sensitive Disposable Razors 4 Pack (2.3%)</c:v>
                </c:pt>
                <c:pt idx="8">
                  <c:v>Bic Comfort 3 Sensitive Skin Disposable Razors 4 Pack (2.0%)</c:v>
                </c:pt>
                <c:pt idx="9">
                  <c:v>None Razors (12.2%)</c:v>
                </c:pt>
              </c:strCache>
            </c:strRef>
          </c:cat>
          <c:val>
            <c:numRef>
              <c:f>Sheet1!$B$2:$B$11</c:f>
              <c:numCache>
                <c:formatCode>General</c:formatCode>
                <c:ptCount val="10"/>
                <c:pt idx="0">
                  <c:v>0.14704415395604031</c:v>
                </c:pt>
                <c:pt idx="1">
                  <c:v>7.8674778998834363E-2</c:v>
                </c:pt>
                <c:pt idx="2">
                  <c:v>5.5751061059294733E-2</c:v>
                </c:pt>
                <c:pt idx="3">
                  <c:v>5.1373176892251633E-2</c:v>
                </c:pt>
                <c:pt idx="4">
                  <c:v>4.7999211297654408E-2</c:v>
                </c:pt>
                <c:pt idx="5">
                  <c:v>4.7038725453756612E-2</c:v>
                </c:pt>
                <c:pt idx="6">
                  <c:v>4.4422301552337701E-2</c:v>
                </c:pt>
                <c:pt idx="7">
                  <c:v>3.6756926542997954E-2</c:v>
                </c:pt>
                <c:pt idx="8">
                  <c:v>3.4930840931527582E-2</c:v>
                </c:pt>
                <c:pt idx="9">
                  <c:v>3.468625502890872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3 Body &amp; Groin Disposable Razor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Gillette Mach 3 Sensitive Skin Disposable Razors 3 Pack (2.4%)</c:v>
                </c:pt>
                <c:pt idx="3">
                  <c:v>Schick Xtreme 3 Sensitive Disposable Razors 8 Pack (1.7%)</c:v>
                </c:pt>
                <c:pt idx="4">
                  <c:v>Schick Hydro 5 Blade Sensitive 1 Handle + 3 Cartridges (2.0%)</c:v>
                </c:pt>
                <c:pt idx="5">
                  <c:v>Equate 2 Blade Disposable Razors 5 Pack (5.5%)</c:v>
                </c:pt>
                <c:pt idx="6">
                  <c:v>Equate Speed 3 Disposable Razors 4 Pack (2.3%)</c:v>
                </c:pt>
                <c:pt idx="7">
                  <c:v>None Razors (12.2%)</c:v>
                </c:pt>
                <c:pt idx="8">
                  <c:v>Bic Flex 4 Sensitive Skin Disposable Razors 3 Pack (1.7%)</c:v>
                </c:pt>
                <c:pt idx="9">
                  <c:v>Gillette Sensor 3 Sensitive Disposable Razors 4 Pack (2.3%)</c:v>
                </c:pt>
              </c:strCache>
            </c:strRef>
          </c:cat>
          <c:val>
            <c:numRef>
              <c:f>Sheet1!$B$2:$B$11</c:f>
              <c:numCache>
                <c:formatCode>General</c:formatCode>
                <c:ptCount val="10"/>
                <c:pt idx="0">
                  <c:v>0.13717778794179308</c:v>
                </c:pt>
                <c:pt idx="1">
                  <c:v>7.2162333071048607E-2</c:v>
                </c:pt>
                <c:pt idx="2">
                  <c:v>5.4777406767934786E-2</c:v>
                </c:pt>
                <c:pt idx="3">
                  <c:v>5.3217318758938009E-2</c:v>
                </c:pt>
                <c:pt idx="4">
                  <c:v>4.9037900750727718E-2</c:v>
                </c:pt>
                <c:pt idx="5">
                  <c:v>4.5432506521735264E-2</c:v>
                </c:pt>
                <c:pt idx="6">
                  <c:v>4.4325138210186299E-2</c:v>
                </c:pt>
                <c:pt idx="7">
                  <c:v>3.8909099740099741E-2</c:v>
                </c:pt>
                <c:pt idx="8">
                  <c:v>3.7757863497268722E-2</c:v>
                </c:pt>
                <c:pt idx="9">
                  <c:v>3.752622518315475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B$2:$B$21</c:f>
              <c:numCache>
                <c:formatCode>General</c:formatCode>
                <c:ptCount val="20"/>
                <c:pt idx="0">
                  <c:v>112.14118592908744</c:v>
                </c:pt>
                <c:pt idx="1">
                  <c:v>109.47073418985713</c:v>
                </c:pt>
                <c:pt idx="2">
                  <c:v>106.99598377215331</c:v>
                </c:pt>
                <c:pt idx="3">
                  <c:v>105.51705516882946</c:v>
                </c:pt>
                <c:pt idx="4">
                  <c:v>104.07983206153165</c:v>
                </c:pt>
                <c:pt idx="5">
                  <c:v>102.68241766713022</c:v>
                </c:pt>
                <c:pt idx="6">
                  <c:v>101.32303132224129</c:v>
                </c:pt>
                <c:pt idx="7">
                  <c:v>100</c:v>
                </c:pt>
                <c:pt idx="8">
                  <c:v>96.258778072398187</c:v>
                </c:pt>
                <c:pt idx="9">
                  <c:v>92.928073842522181</c:v>
                </c:pt>
                <c:pt idx="10">
                  <c:v>89.938132876117379</c:v>
                </c:pt>
                <c:pt idx="11">
                  <c:v>87.233120420682496</c:v>
                </c:pt>
                <c:pt idx="12">
                  <c:v>84.768115331454652</c:v>
                </c:pt>
                <c:pt idx="13">
                  <c:v>83.224599954855549</c:v>
                </c:pt>
                <c:pt idx="14">
                  <c:v>81.748388413168868</c:v>
                </c:pt>
                <c:pt idx="15">
                  <c:v>80.3347925806262</c:v>
                </c:pt>
                <c:pt idx="16">
                  <c:v>78.979525299941528</c:v>
                </c:pt>
                <c:pt idx="17">
                  <c:v>77.678664847879986</c:v>
                </c:pt>
                <c:pt idx="18">
                  <c:v>76.428622237848401</c:v>
                </c:pt>
                <c:pt idx="19">
                  <c:v>75.22611119824847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C$2:$C$21</c:f>
              <c:numCache>
                <c:formatCode>General</c:formatCode>
                <c:ptCount val="20"/>
                <c:pt idx="0">
                  <c:v>96.52456818829711</c:v>
                </c:pt>
                <c:pt idx="1">
                  <c:v>96.40740758625779</c:v>
                </c:pt>
                <c:pt idx="2">
                  <c:v>96.359682427098747</c:v>
                </c:pt>
                <c:pt idx="3">
                  <c:v>97.126318612549056</c:v>
                </c:pt>
                <c:pt idx="4">
                  <c:v>97.872994144632372</c:v>
                </c:pt>
                <c:pt idx="5">
                  <c:v>98.600402520246931</c:v>
                </c:pt>
                <c:pt idx="6">
                  <c:v>99.309198233064507</c:v>
                </c:pt>
                <c:pt idx="7">
                  <c:v>100</c:v>
                </c:pt>
                <c:pt idx="8">
                  <c:v>98.18094180981906</c:v>
                </c:pt>
                <c:pt idx="9">
                  <c:v>96.638869677964237</c:v>
                </c:pt>
                <c:pt idx="10">
                  <c:v>95.324550653806824</c:v>
                </c:pt>
                <c:pt idx="11">
                  <c:v>94.198189650421398</c:v>
                </c:pt>
                <c:pt idx="12">
                  <c:v>93.227518032245129</c:v>
                </c:pt>
                <c:pt idx="13">
                  <c:v>93.186423275760291</c:v>
                </c:pt>
                <c:pt idx="14">
                  <c:v>93.160507702453543</c:v>
                </c:pt>
                <c:pt idx="15">
                  <c:v>93.148357012816277</c:v>
                </c:pt>
                <c:pt idx="16">
                  <c:v>93.148656814605673</c:v>
                </c:pt>
                <c:pt idx="17">
                  <c:v>93.160189833697956</c:v>
                </c:pt>
                <c:pt idx="18">
                  <c:v>93.181832352228838</c:v>
                </c:pt>
                <c:pt idx="19">
                  <c:v>93.21255006813015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D$2:$D$21</c:f>
              <c:numCache>
                <c:formatCode>General</c:formatCode>
                <c:ptCount val="20"/>
                <c:pt idx="0">
                  <c:v>87.264361956765171</c:v>
                </c:pt>
                <c:pt idx="1">
                  <c:v>88.65551302532036</c:v>
                </c:pt>
                <c:pt idx="2">
                  <c:v>90.042098924781172</c:v>
                </c:pt>
                <c:pt idx="3">
                  <c:v>92.14142038556021</c:v>
                </c:pt>
                <c:pt idx="4">
                  <c:v>94.184745766726536</c:v>
                </c:pt>
                <c:pt idx="5">
                  <c:v>96.174263534221964</c:v>
                </c:pt>
                <c:pt idx="6">
                  <c:v>98.112034152325023</c:v>
                </c:pt>
                <c:pt idx="7">
                  <c:v>100</c:v>
                </c:pt>
                <c:pt idx="8">
                  <c:v>99.309285542778454</c:v>
                </c:pt>
                <c:pt idx="9">
                  <c:v>98.817984126890295</c:v>
                </c:pt>
                <c:pt idx="10">
                  <c:v>98.488738390898519</c:v>
                </c:pt>
                <c:pt idx="11">
                  <c:v>98.291032886919226</c:v>
                </c:pt>
                <c:pt idx="12">
                  <c:v>98.199917305616964</c:v>
                </c:pt>
                <c:pt idx="13">
                  <c:v>99.049271883939198</c:v>
                </c:pt>
                <c:pt idx="14">
                  <c:v>99.883030487146939</c:v>
                </c:pt>
                <c:pt idx="15">
                  <c:v>100.70171514549253</c:v>
                </c:pt>
                <c:pt idx="16">
                  <c:v>101.50576894060117</c:v>
                </c:pt>
                <c:pt idx="17">
                  <c:v>102.29557274477853</c:v>
                </c:pt>
                <c:pt idx="18">
                  <c:v>103.07145902965564</c:v>
                </c:pt>
                <c:pt idx="19">
                  <c:v>103.8337231509351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E$2:$E$21</c:f>
              <c:numCache>
                <c:formatCode>General</c:formatCode>
                <c:ptCount val="20"/>
                <c:pt idx="0">
                  <c:v>0.57304562114948931</c:v>
                </c:pt>
                <c:pt idx="1">
                  <c:v>0.58278232306170175</c:v>
                </c:pt>
                <c:pt idx="2">
                  <c:v>0.59208483536801837</c:v>
                </c:pt>
                <c:pt idx="3">
                  <c:v>0.60098156742106057</c:v>
                </c:pt>
                <c:pt idx="4">
                  <c:v>0.60949850301506137</c:v>
                </c:pt>
                <c:pt idx="5">
                  <c:v>0.6176594538402429</c:v>
                </c:pt>
                <c:pt idx="6">
                  <c:v>0.62548628180666577</c:v>
                </c:pt>
                <c:pt idx="7">
                  <c:v>0.63299909460893933</c:v>
                </c:pt>
                <c:pt idx="8">
                  <c:v>0.64021641821544983</c:v>
                </c:pt>
                <c:pt idx="9">
                  <c:v>0.64715534939740837</c:v>
                </c:pt>
                <c:pt idx="10">
                  <c:v>0.65383169094144966</c:v>
                </c:pt>
                <c:pt idx="11">
                  <c:v>0.66026007179676183</c:v>
                </c:pt>
                <c:pt idx="12">
                  <c:v>0.66645405407940972</c:v>
                </c:pt>
                <c:pt idx="13">
                  <c:v>0.67242622858112122</c:v>
                </c:pt>
                <c:pt idx="14">
                  <c:v>0.67818830019798815</c:v>
                </c:pt>
                <c:pt idx="15">
                  <c:v>0.68375116449880069</c:v>
                </c:pt>
                <c:pt idx="16">
                  <c:v>0.68912497648692661</c:v>
                </c:pt>
                <c:pt idx="17">
                  <c:v>0.69431921246876549</c:v>
                </c:pt>
                <c:pt idx="18">
                  <c:v>0.69934272582178514</c:v>
                </c:pt>
                <c:pt idx="19">
                  <c:v>0.7042037973525565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Ultimate Comfort Disposable Razor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Equate 2 Blade Disposable Razors 12 Pack (5.7%)</c:v>
                </c:pt>
                <c:pt idx="3">
                  <c:v>None Razors (12.2%)</c:v>
                </c:pt>
                <c:pt idx="4">
                  <c:v>Equate 2 Blade Disposable Razors 5 Pack (5.5%)</c:v>
                </c:pt>
                <c:pt idx="5">
                  <c:v>Schick Xtreme 3 Sensitive Disposable Razors 8 Pack (1.7%)</c:v>
                </c:pt>
                <c:pt idx="6">
                  <c:v>Schick Hydro 5 Blade Sensitive 1 Handle + 3 Cartridges (2.0%)</c:v>
                </c:pt>
                <c:pt idx="7">
                  <c:v>Gillette Mach 3 Sensitive Skin Disposable Razors 3 Pack (2.4%)</c:v>
                </c:pt>
                <c:pt idx="8">
                  <c:v>Gillette Sensor 3 Sensitive Disposable Razors 4 Pack (2.3%)</c:v>
                </c:pt>
                <c:pt idx="9">
                  <c:v>Equate Speed 3 Disposable Razors 4 Pack (2.3%)</c:v>
                </c:pt>
              </c:strCache>
            </c:strRef>
          </c:cat>
          <c:val>
            <c:numRef>
              <c:f>Sheet1!$B$2:$B$11</c:f>
              <c:numCache>
                <c:formatCode>General</c:formatCode>
                <c:ptCount val="10"/>
                <c:pt idx="0">
                  <c:v>0.14291045735380975</c:v>
                </c:pt>
                <c:pt idx="1">
                  <c:v>6.5288389524377363E-2</c:v>
                </c:pt>
                <c:pt idx="2">
                  <c:v>5.8299218446903098E-2</c:v>
                </c:pt>
                <c:pt idx="3">
                  <c:v>5.3667305882766664E-2</c:v>
                </c:pt>
                <c:pt idx="4">
                  <c:v>4.9802110190202996E-2</c:v>
                </c:pt>
                <c:pt idx="5">
                  <c:v>4.4783992546899E-2</c:v>
                </c:pt>
                <c:pt idx="6">
                  <c:v>4.332309302289538E-2</c:v>
                </c:pt>
                <c:pt idx="7">
                  <c:v>4.2390202734584374E-2</c:v>
                </c:pt>
                <c:pt idx="8">
                  <c:v>4.04435736190479E-2</c:v>
                </c:pt>
                <c:pt idx="9">
                  <c:v>3.806071171530923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Ultimate Comfort Disposable Razor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Hydro 5 Blade Sensitive 1 Handle + 3 Cartridges (2.0%)</c:v>
                </c:pt>
                <c:pt idx="2">
                  <c:v>None Razors (12.2%)</c:v>
                </c:pt>
                <c:pt idx="3">
                  <c:v>Schick Xtreme 2 Sensitive Disposable Razors 12 Pack (2.7%)</c:v>
                </c:pt>
                <c:pt idx="4">
                  <c:v>Equate 2 Blade Disposable Razors 5 Pack (5.5%)</c:v>
                </c:pt>
                <c:pt idx="5">
                  <c:v>Gillette Mach 3 Sensitive Skin Disposable Razors 3 Pack (2.4%)</c:v>
                </c:pt>
                <c:pt idx="6">
                  <c:v>Schick Xtreme 3 Sensitive Disposable Razors 8 Pack (1.7%)</c:v>
                </c:pt>
                <c:pt idx="7">
                  <c:v>Equate 2 Blade Disposable Razors 12 Pack (5.7%)</c:v>
                </c:pt>
                <c:pt idx="8">
                  <c:v>Gillette Sensor 3 Sensitive Disposable Razors 4 Pack (2.3%)</c:v>
                </c:pt>
                <c:pt idx="9">
                  <c:v>Equate Speed 3 Disposable Razors 4 Pack (2.3%)</c:v>
                </c:pt>
              </c:strCache>
            </c:strRef>
          </c:cat>
          <c:val>
            <c:numRef>
              <c:f>Sheet1!$B$2:$B$11</c:f>
              <c:numCache>
                <c:formatCode>General</c:formatCode>
                <c:ptCount val="10"/>
                <c:pt idx="0">
                  <c:v>0.13517449077772781</c:v>
                </c:pt>
                <c:pt idx="1">
                  <c:v>6.6025232204993414E-2</c:v>
                </c:pt>
                <c:pt idx="2">
                  <c:v>5.8057963873985548E-2</c:v>
                </c:pt>
                <c:pt idx="3">
                  <c:v>5.6540703974728879E-2</c:v>
                </c:pt>
                <c:pt idx="4">
                  <c:v>4.7738885765981814E-2</c:v>
                </c:pt>
                <c:pt idx="5">
                  <c:v>4.4278693141313739E-2</c:v>
                </c:pt>
                <c:pt idx="6">
                  <c:v>4.2696946995778071E-2</c:v>
                </c:pt>
                <c:pt idx="7">
                  <c:v>4.1298521654907459E-2</c:v>
                </c:pt>
                <c:pt idx="8">
                  <c:v>4.1194938412857471E-2</c:v>
                </c:pt>
                <c:pt idx="9">
                  <c:v>3.777337104831701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B$2:$B$15</c:f>
              <c:numCache>
                <c:formatCode>General</c:formatCode>
                <c:ptCount val="14"/>
                <c:pt idx="0">
                  <c:v>118.53648494709074</c:v>
                </c:pt>
                <c:pt idx="1">
                  <c:v>114.16992869672083</c:v>
                </c:pt>
                <c:pt idx="2">
                  <c:v>110.17713555473276</c:v>
                </c:pt>
                <c:pt idx="3">
                  <c:v>106.51051180985877</c:v>
                </c:pt>
                <c:pt idx="4">
                  <c:v>103.12960915572518</c:v>
                </c:pt>
                <c:pt idx="5">
                  <c:v>100</c:v>
                </c:pt>
                <c:pt idx="6">
                  <c:v>90.942466814478792</c:v>
                </c:pt>
                <c:pt idx="7">
                  <c:v>83.75024275381115</c:v>
                </c:pt>
                <c:pt idx="8">
                  <c:v>77.908013457320763</c:v>
                </c:pt>
                <c:pt idx="9">
                  <c:v>73.865447377794766</c:v>
                </c:pt>
                <c:pt idx="10">
                  <c:v>70.194293782995402</c:v>
                </c:pt>
                <c:pt idx="11">
                  <c:v>66.85179807384057</c:v>
                </c:pt>
                <c:pt idx="12">
                  <c:v>63.800413544183932</c:v>
                </c:pt>
                <c:pt idx="13">
                  <c:v>61.0072105534170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C$2:$C$15</c:f>
              <c:numCache>
                <c:formatCode>General</c:formatCode>
                <c:ptCount val="14"/>
                <c:pt idx="0">
                  <c:v>100.25978388663736</c:v>
                </c:pt>
                <c:pt idx="1">
                  <c:v>100.08750350037627</c:v>
                </c:pt>
                <c:pt idx="2">
                  <c:v>99.984925780579076</c:v>
                </c:pt>
                <c:pt idx="3">
                  <c:v>99.941985190576005</c:v>
                </c:pt>
                <c:pt idx="4">
                  <c:v>99.949670181399938</c:v>
                </c:pt>
                <c:pt idx="5">
                  <c:v>100</c:v>
                </c:pt>
                <c:pt idx="6">
                  <c:v>93.749234871933936</c:v>
                </c:pt>
                <c:pt idx="7">
                  <c:v>88.919756060795606</c:v>
                </c:pt>
                <c:pt idx="8">
                  <c:v>85.121250591649058</c:v>
                </c:pt>
                <c:pt idx="9">
                  <c:v>82.982826994995065</c:v>
                </c:pt>
                <c:pt idx="10">
                  <c:v>81.023849305080304</c:v>
                </c:pt>
                <c:pt idx="11">
                  <c:v>79.227981929069273</c:v>
                </c:pt>
                <c:pt idx="12">
                  <c:v>77.579955511563796</c:v>
                </c:pt>
                <c:pt idx="13">
                  <c:v>76.06563144051804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D$2:$D$15</c:f>
              <c:numCache>
                <c:formatCode>General</c:formatCode>
                <c:ptCount val="14"/>
                <c:pt idx="0">
                  <c:v>86.700010393132047</c:v>
                </c:pt>
                <c:pt idx="1">
                  <c:v>89.638963187474801</c:v>
                </c:pt>
                <c:pt idx="2">
                  <c:v>92.422340949095656</c:v>
                </c:pt>
                <c:pt idx="3">
                  <c:v>95.067894119694415</c:v>
                </c:pt>
                <c:pt idx="4">
                  <c:v>97.58990856630507</c:v>
                </c:pt>
                <c:pt idx="5">
                  <c:v>100</c:v>
                </c:pt>
                <c:pt idx="6">
                  <c:v>95.827523988066716</c:v>
                </c:pt>
                <c:pt idx="7">
                  <c:v>92.747683410195407</c:v>
                </c:pt>
                <c:pt idx="8">
                  <c:v>90.462712489052151</c:v>
                </c:pt>
                <c:pt idx="9">
                  <c:v>89.736445657587566</c:v>
                </c:pt>
                <c:pt idx="10">
                  <c:v>89.047044890411215</c:v>
                </c:pt>
                <c:pt idx="11">
                  <c:v>88.397828252287738</c:v>
                </c:pt>
                <c:pt idx="12">
                  <c:v>87.790093519368895</c:v>
                </c:pt>
                <c:pt idx="13">
                  <c:v>87.2236721906427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E$2:$E$15</c:f>
              <c:numCache>
                <c:formatCode>General</c:formatCode>
                <c:ptCount val="14"/>
                <c:pt idx="0">
                  <c:v>0.49785956296255396</c:v>
                </c:pt>
                <c:pt idx="1">
                  <c:v>0.51557174769050629</c:v>
                </c:pt>
                <c:pt idx="2">
                  <c:v>0.53207696923427084</c:v>
                </c:pt>
                <c:pt idx="3">
                  <c:v>0.54749453202721077</c:v>
                </c:pt>
                <c:pt idx="4">
                  <c:v>0.56192851824643852</c:v>
                </c:pt>
                <c:pt idx="5">
                  <c:v>0.57547014055721324</c:v>
                </c:pt>
                <c:pt idx="6">
                  <c:v>0.58819967157498798</c:v>
                </c:pt>
                <c:pt idx="7">
                  <c:v>0.60018803630351825</c:v>
                </c:pt>
                <c:pt idx="8">
                  <c:v>0.6114981342864455</c:v>
                </c:pt>
                <c:pt idx="9">
                  <c:v>0.6221859435220316</c:v>
                </c:pt>
                <c:pt idx="10">
                  <c:v>0.63230144704219138</c:v>
                </c:pt>
                <c:pt idx="11">
                  <c:v>0.64188941452479409</c:v>
                </c:pt>
                <c:pt idx="12">
                  <c:v>0.65099006472746768</c:v>
                </c:pt>
                <c:pt idx="13">
                  <c:v>0.6596396294182366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First 4 Blade Disposable Razor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5 Pack (5.5%)</c:v>
                </c:pt>
                <c:pt idx="1">
                  <c:v>Equate 2 Blade Disposable Razors 12 Pack (5.7%)</c:v>
                </c:pt>
                <c:pt idx="2">
                  <c:v>Bic Men Sensitive Single Blade Disposable Razors 12 Pack (5.7%)</c:v>
                </c:pt>
                <c:pt idx="3">
                  <c:v>Equate Speed 3 Disposable Razors 4 Pack (2.3%)</c:v>
                </c:pt>
                <c:pt idx="4">
                  <c:v>Schick Xtreme 3 Sensitive Disposable Razors 4 Pack (2.8%)</c:v>
                </c:pt>
                <c:pt idx="5">
                  <c:v>Equate Caliber 5 Disposable Razors 3 Pack (2.2%)</c:v>
                </c:pt>
                <c:pt idx="6">
                  <c:v>Schick Xtreme 2 Sensitive Disposable Razors 12 Pack (2.7%)</c:v>
                </c:pt>
                <c:pt idx="7">
                  <c:v>Equate Caliber 3 Disposable Razors 3 Pack (1.4%)</c:v>
                </c:pt>
                <c:pt idx="8">
                  <c:v>None Razors (12.2%)</c:v>
                </c:pt>
                <c:pt idx="9">
                  <c:v>Bic Comfort 3 Sensitive Skin Disposable Razors 4 Pack (2.0%)</c:v>
                </c:pt>
              </c:strCache>
            </c:strRef>
          </c:cat>
          <c:val>
            <c:numRef>
              <c:f>Sheet1!$B$2:$B$11</c:f>
              <c:numCache>
                <c:formatCode>General</c:formatCode>
                <c:ptCount val="10"/>
                <c:pt idx="0">
                  <c:v>9.912307430149607E-2</c:v>
                </c:pt>
                <c:pt idx="1">
                  <c:v>9.755441782478913E-2</c:v>
                </c:pt>
                <c:pt idx="2">
                  <c:v>8.0681816642617907E-2</c:v>
                </c:pt>
                <c:pt idx="3">
                  <c:v>7.4556706224071401E-2</c:v>
                </c:pt>
                <c:pt idx="4">
                  <c:v>6.7074829691779941E-2</c:v>
                </c:pt>
                <c:pt idx="5">
                  <c:v>6.0053351929950795E-2</c:v>
                </c:pt>
                <c:pt idx="6">
                  <c:v>5.5753143737548007E-2</c:v>
                </c:pt>
                <c:pt idx="7">
                  <c:v>4.9174245491329115E-2</c:v>
                </c:pt>
                <c:pt idx="8">
                  <c:v>4.3960062882678272E-2</c:v>
                </c:pt>
                <c:pt idx="9">
                  <c:v>4.328217197545403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First 4 Blade Disposable Razor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Equate Speed 3 Disposable Razors 4 Pack (2.3%)</c:v>
                </c:pt>
                <c:pt idx="3">
                  <c:v>Bic Men Sensitive Single Blade Disposable Razors 12 Pack (5.7%)</c:v>
                </c:pt>
                <c:pt idx="4">
                  <c:v>Equate 2 Blade Disposable Razors 5 Pack (5.5%)</c:v>
                </c:pt>
                <c:pt idx="5">
                  <c:v>Equate 2 Blade Disposable Razors 12 Pack (5.7%)</c:v>
                </c:pt>
                <c:pt idx="6">
                  <c:v>Equate Caliber 5 Disposable Razors 3 Pack (2.2%)</c:v>
                </c:pt>
                <c:pt idx="7">
                  <c:v>Equate Speed 3 Disposable Razors 8 Pack (1.9%)</c:v>
                </c:pt>
                <c:pt idx="8">
                  <c:v>Equate Caliber 3 Disposable Razors 3 Pack (1.4%)</c:v>
                </c:pt>
                <c:pt idx="9">
                  <c:v>Bic Comfort 3 Sensitive Skin Disposable Razors 4 Pack (2.0%)</c:v>
                </c:pt>
              </c:strCache>
            </c:strRef>
          </c:cat>
          <c:val>
            <c:numRef>
              <c:f>Sheet1!$B$2:$B$11</c:f>
              <c:numCache>
                <c:formatCode>General</c:formatCode>
                <c:ptCount val="10"/>
                <c:pt idx="0">
                  <c:v>0.11591542974518901</c:v>
                </c:pt>
                <c:pt idx="1">
                  <c:v>0.10787483836280055</c:v>
                </c:pt>
                <c:pt idx="2">
                  <c:v>7.8147282267143778E-2</c:v>
                </c:pt>
                <c:pt idx="3">
                  <c:v>7.1041525649512882E-2</c:v>
                </c:pt>
                <c:pt idx="4">
                  <c:v>6.0488271941436023E-2</c:v>
                </c:pt>
                <c:pt idx="5">
                  <c:v>5.8823489245934966E-2</c:v>
                </c:pt>
                <c:pt idx="6">
                  <c:v>5.526320053076425E-2</c:v>
                </c:pt>
                <c:pt idx="7">
                  <c:v>4.3555696401822531E-2</c:v>
                </c:pt>
                <c:pt idx="8">
                  <c:v>3.9565730784281633E-2</c:v>
                </c:pt>
                <c:pt idx="9">
                  <c:v>3.73449544646915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Xtreme 3 Sensitive Disposable Razors 8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9.27</c:v>
                </c:pt>
                <c:pt idx="1">
                  <c:v>9.870000000000001</c:v>
                </c:pt>
                <c:pt idx="2">
                  <c:v>10.97</c:v>
                </c:pt>
                <c:pt idx="3">
                  <c:v>11.97</c:v>
                </c:pt>
                <c:pt idx="4">
                  <c:v>13.47</c:v>
                </c:pt>
              </c:numCache>
            </c:numRef>
          </c:xVal>
          <c:yVal>
            <c:numRef>
              <c:f>Sheet1!$B$2:$B$6</c:f>
              <c:numCache>
                <c:formatCode>General</c:formatCode>
                <c:ptCount val="5"/>
                <c:pt idx="0">
                  <c:v>0.27189499750506807</c:v>
                </c:pt>
                <c:pt idx="1">
                  <c:v>0.21061913608498026</c:v>
                </c:pt>
                <c:pt idx="2">
                  <c:v>0</c:v>
                </c:pt>
                <c:pt idx="3">
                  <c:v>-9.2374309503147622E-2</c:v>
                </c:pt>
                <c:pt idx="4">
                  <c:v>-0.2360847721586534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Xtreme 3 Sensitive Disposable Razors 12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2.57</c:v>
                </c:pt>
                <c:pt idx="1">
                  <c:v>13.47</c:v>
                </c:pt>
                <c:pt idx="2">
                  <c:v>14.97</c:v>
                </c:pt>
                <c:pt idx="3">
                  <c:v>15.97</c:v>
                </c:pt>
                <c:pt idx="4">
                  <c:v>18.57</c:v>
                </c:pt>
              </c:numCache>
            </c:numRef>
          </c:xVal>
          <c:yVal>
            <c:numRef>
              <c:f>Sheet1!$B$9:$B$13</c:f>
              <c:numCache>
                <c:formatCode>General</c:formatCode>
                <c:ptCount val="5"/>
                <c:pt idx="0">
                  <c:v>0.36084804343087873</c:v>
                </c:pt>
                <c:pt idx="1">
                  <c:v>0.20319105363299897</c:v>
                </c:pt>
                <c:pt idx="2">
                  <c:v>0</c:v>
                </c:pt>
                <c:pt idx="3">
                  <c:v>-0.14750159689573747</c:v>
                </c:pt>
                <c:pt idx="4">
                  <c:v>-0.3916094319860177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8.57"/>
          <c:min val="9.27"/>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2</c:f>
              <c:strCache>
                <c:ptCount val="21"/>
                <c:pt idx="0">
                  <c:v>9.37</c:v>
                </c:pt>
                <c:pt idx="1">
                  <c:v>9.57</c:v>
                </c:pt>
                <c:pt idx="2">
                  <c:v>9.77</c:v>
                </c:pt>
                <c:pt idx="3">
                  <c:v>9.97</c:v>
                </c:pt>
                <c:pt idx="4">
                  <c:v>10.17</c:v>
                </c:pt>
                <c:pt idx="5">
                  <c:v>10.37</c:v>
                </c:pt>
                <c:pt idx="6">
                  <c:v>10.57</c:v>
                </c:pt>
                <c:pt idx="7">
                  <c:v>10.77</c:v>
                </c:pt>
                <c:pt idx="8">
                  <c:v>10.97</c:v>
                </c:pt>
                <c:pt idx="9">
                  <c:v>11.17</c:v>
                </c:pt>
                <c:pt idx="10">
                  <c:v>11.37</c:v>
                </c:pt>
                <c:pt idx="11">
                  <c:v>11.57</c:v>
                </c:pt>
                <c:pt idx="12">
                  <c:v>11.77</c:v>
                </c:pt>
                <c:pt idx="13">
                  <c:v>11.97</c:v>
                </c:pt>
                <c:pt idx="14">
                  <c:v>12.17</c:v>
                </c:pt>
                <c:pt idx="15">
                  <c:v>12.37</c:v>
                </c:pt>
                <c:pt idx="16">
                  <c:v>12.57</c:v>
                </c:pt>
                <c:pt idx="17">
                  <c:v>12.77</c:v>
                </c:pt>
                <c:pt idx="18">
                  <c:v>12.97</c:v>
                </c:pt>
                <c:pt idx="19">
                  <c:v>13.17</c:v>
                </c:pt>
                <c:pt idx="20">
                  <c:v>13.37</c:v>
                </c:pt>
              </c:strCache>
            </c:strRef>
          </c:cat>
          <c:val>
            <c:numRef>
              <c:f>Sheet1!$B$2:$B$22</c:f>
              <c:numCache>
                <c:formatCode>General</c:formatCode>
                <c:ptCount val="21"/>
                <c:pt idx="0">
                  <c:v>126.12235848273308</c:v>
                </c:pt>
                <c:pt idx="1">
                  <c:v>124.04455994316407</c:v>
                </c:pt>
                <c:pt idx="2">
                  <c:v>122.03886933662571</c:v>
                </c:pt>
                <c:pt idx="3">
                  <c:v>120.10163011864314</c:v>
                </c:pt>
                <c:pt idx="4">
                  <c:v>114.97339890250547</c:v>
                </c:pt>
                <c:pt idx="5">
                  <c:v>110.50630199614045</c:v>
                </c:pt>
                <c:pt idx="6">
                  <c:v>106.58163163888896</c:v>
                </c:pt>
                <c:pt idx="7">
                  <c:v>103.1047226336965</c:v>
                </c:pt>
                <c:pt idx="8">
                  <c:v>100</c:v>
                </c:pt>
                <c:pt idx="9">
                  <c:v>97.966383704952264</c:v>
                </c:pt>
                <c:pt idx="10">
                  <c:v>96.032722795455967</c:v>
                </c:pt>
                <c:pt idx="11">
                  <c:v>94.191850140220765</c:v>
                </c:pt>
                <c:pt idx="12">
                  <c:v>92.437160264901024</c:v>
                </c:pt>
                <c:pt idx="13">
                  <c:v>90.762569049685254</c:v>
                </c:pt>
                <c:pt idx="14">
                  <c:v>89.162475657010162</c:v>
                </c:pt>
                <c:pt idx="15">
                  <c:v>87.631726581115984</c:v>
                </c:pt>
                <c:pt idx="16">
                  <c:v>86.165581737364903</c:v>
                </c:pt>
                <c:pt idx="17">
                  <c:v>83.767919134136363</c:v>
                </c:pt>
                <c:pt idx="18">
                  <c:v>81.508622042448877</c:v>
                </c:pt>
                <c:pt idx="19">
                  <c:v>79.375919979556073</c:v>
                </c:pt>
                <c:pt idx="20">
                  <c:v>77.35929228105895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2</c:f>
              <c:strCache>
                <c:ptCount val="21"/>
                <c:pt idx="0">
                  <c:v>9.37</c:v>
                </c:pt>
                <c:pt idx="1">
                  <c:v>9.57</c:v>
                </c:pt>
                <c:pt idx="2">
                  <c:v>9.77</c:v>
                </c:pt>
                <c:pt idx="3">
                  <c:v>9.97</c:v>
                </c:pt>
                <c:pt idx="4">
                  <c:v>10.17</c:v>
                </c:pt>
                <c:pt idx="5">
                  <c:v>10.37</c:v>
                </c:pt>
                <c:pt idx="6">
                  <c:v>10.57</c:v>
                </c:pt>
                <c:pt idx="7">
                  <c:v>10.77</c:v>
                </c:pt>
                <c:pt idx="8">
                  <c:v>10.97</c:v>
                </c:pt>
                <c:pt idx="9">
                  <c:v>11.17</c:v>
                </c:pt>
                <c:pt idx="10">
                  <c:v>11.37</c:v>
                </c:pt>
                <c:pt idx="11">
                  <c:v>11.57</c:v>
                </c:pt>
                <c:pt idx="12">
                  <c:v>11.77</c:v>
                </c:pt>
                <c:pt idx="13">
                  <c:v>11.97</c:v>
                </c:pt>
                <c:pt idx="14">
                  <c:v>12.17</c:v>
                </c:pt>
                <c:pt idx="15">
                  <c:v>12.37</c:v>
                </c:pt>
                <c:pt idx="16">
                  <c:v>12.57</c:v>
                </c:pt>
                <c:pt idx="17">
                  <c:v>12.77</c:v>
                </c:pt>
                <c:pt idx="18">
                  <c:v>12.97</c:v>
                </c:pt>
                <c:pt idx="19">
                  <c:v>13.17</c:v>
                </c:pt>
                <c:pt idx="20">
                  <c:v>13.37</c:v>
                </c:pt>
              </c:strCache>
            </c:strRef>
          </c:cat>
          <c:val>
            <c:numRef>
              <c:f>Sheet1!$C$2:$C$22</c:f>
              <c:numCache>
                <c:formatCode>General</c:formatCode>
                <c:ptCount val="21"/>
                <c:pt idx="0">
                  <c:v>107.96718365421978</c:v>
                </c:pt>
                <c:pt idx="1">
                  <c:v>108.40853557924952</c:v>
                </c:pt>
                <c:pt idx="2">
                  <c:v>108.83928765233411</c:v>
                </c:pt>
                <c:pt idx="3">
                  <c:v>109.26002631290565</c:v>
                </c:pt>
                <c:pt idx="4">
                  <c:v>106.67345943031576</c:v>
                </c:pt>
                <c:pt idx="5">
                  <c:v>104.52520093647115</c:v>
                </c:pt>
                <c:pt idx="6">
                  <c:v>102.73702843169703</c:v>
                </c:pt>
                <c:pt idx="7">
                  <c:v>101.24566079618744</c:v>
                </c:pt>
                <c:pt idx="8">
                  <c:v>100</c:v>
                </c:pt>
                <c:pt idx="9">
                  <c:v>99.724540929781085</c:v>
                </c:pt>
                <c:pt idx="10">
                  <c:v>99.479501017403109</c:v>
                </c:pt>
                <c:pt idx="11">
                  <c:v>99.262705532556652</c:v>
                </c:pt>
                <c:pt idx="12">
                  <c:v>99.072069193175878</c:v>
                </c:pt>
                <c:pt idx="13">
                  <c:v>98.905602317047808</c:v>
                </c:pt>
                <c:pt idx="14">
                  <c:v>98.761415142080594</c:v>
                </c:pt>
                <c:pt idx="15">
                  <c:v>98.63772047057526</c:v>
                </c:pt>
                <c:pt idx="16">
                  <c:v>98.532834807378023</c:v>
                </c:pt>
                <c:pt idx="17">
                  <c:v>97.301085645317457</c:v>
                </c:pt>
                <c:pt idx="18">
                  <c:v>96.14617559570074</c:v>
                </c:pt>
                <c:pt idx="19">
                  <c:v>95.061477055062298</c:v>
                </c:pt>
                <c:pt idx="20">
                  <c:v>94.04103568355230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2</c:f>
              <c:strCache>
                <c:ptCount val="21"/>
                <c:pt idx="0">
                  <c:v>9.37</c:v>
                </c:pt>
                <c:pt idx="1">
                  <c:v>9.57</c:v>
                </c:pt>
                <c:pt idx="2">
                  <c:v>9.77</c:v>
                </c:pt>
                <c:pt idx="3">
                  <c:v>9.97</c:v>
                </c:pt>
                <c:pt idx="4">
                  <c:v>10.17</c:v>
                </c:pt>
                <c:pt idx="5">
                  <c:v>10.37</c:v>
                </c:pt>
                <c:pt idx="6">
                  <c:v>10.57</c:v>
                </c:pt>
                <c:pt idx="7">
                  <c:v>10.77</c:v>
                </c:pt>
                <c:pt idx="8">
                  <c:v>10.97</c:v>
                </c:pt>
                <c:pt idx="9">
                  <c:v>11.17</c:v>
                </c:pt>
                <c:pt idx="10">
                  <c:v>11.37</c:v>
                </c:pt>
                <c:pt idx="11">
                  <c:v>11.57</c:v>
                </c:pt>
                <c:pt idx="12">
                  <c:v>11.77</c:v>
                </c:pt>
                <c:pt idx="13">
                  <c:v>11.97</c:v>
                </c:pt>
                <c:pt idx="14">
                  <c:v>12.17</c:v>
                </c:pt>
                <c:pt idx="15">
                  <c:v>12.37</c:v>
                </c:pt>
                <c:pt idx="16">
                  <c:v>12.57</c:v>
                </c:pt>
                <c:pt idx="17">
                  <c:v>12.77</c:v>
                </c:pt>
                <c:pt idx="18">
                  <c:v>12.97</c:v>
                </c:pt>
                <c:pt idx="19">
                  <c:v>13.17</c:v>
                </c:pt>
                <c:pt idx="20">
                  <c:v>13.37</c:v>
                </c:pt>
              </c:strCache>
            </c:strRef>
          </c:cat>
          <c:val>
            <c:numRef>
              <c:f>Sheet1!$D$2:$D$22</c:f>
              <c:numCache>
                <c:formatCode>General</c:formatCode>
                <c:ptCount val="21"/>
                <c:pt idx="0">
                  <c:v>94.570012404029583</c:v>
                </c:pt>
                <c:pt idx="1">
                  <c:v>96.89108917760862</c:v>
                </c:pt>
                <c:pt idx="2">
                  <c:v>99.14079230242919</c:v>
                </c:pt>
                <c:pt idx="3">
                  <c:v>101.32280174659694</c:v>
                </c:pt>
                <c:pt idx="4">
                  <c:v>100.59180742396778</c:v>
                </c:pt>
                <c:pt idx="5">
                  <c:v>100.13918769220444</c:v>
                </c:pt>
                <c:pt idx="6">
                  <c:v>99.915683254400975</c:v>
                </c:pt>
                <c:pt idx="7">
                  <c:v>99.88047681992542</c:v>
                </c:pt>
                <c:pt idx="8">
                  <c:v>100</c:v>
                </c:pt>
                <c:pt idx="9">
                  <c:v>101.0299456299784</c:v>
                </c:pt>
                <c:pt idx="10">
                  <c:v>102.03890944819211</c:v>
                </c:pt>
                <c:pt idx="11">
                  <c:v>103.02842922452469</c:v>
                </c:pt>
                <c:pt idx="12">
                  <c:v>103.99977813177995</c:v>
                </c:pt>
                <c:pt idx="13">
                  <c:v>104.95400596112682</c:v>
                </c:pt>
                <c:pt idx="14">
                  <c:v>105.89197542418927</c:v>
                </c:pt>
                <c:pt idx="15">
                  <c:v>106.81439389797151</c:v>
                </c:pt>
                <c:pt idx="16">
                  <c:v>107.72184097447983</c:v>
                </c:pt>
                <c:pt idx="17">
                  <c:v>107.34390286482302</c:v>
                </c:pt>
                <c:pt idx="18">
                  <c:v>106.99764201103821</c:v>
                </c:pt>
                <c:pt idx="19">
                  <c:v>106.68021975244919</c:v>
                </c:pt>
                <c:pt idx="20">
                  <c:v>106.3890439264388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2</c:f>
              <c:strCache>
                <c:ptCount val="21"/>
                <c:pt idx="0">
                  <c:v>9.37</c:v>
                </c:pt>
                <c:pt idx="1">
                  <c:v>9.57</c:v>
                </c:pt>
                <c:pt idx="2">
                  <c:v>9.77</c:v>
                </c:pt>
                <c:pt idx="3">
                  <c:v>9.97</c:v>
                </c:pt>
                <c:pt idx="4">
                  <c:v>10.17</c:v>
                </c:pt>
                <c:pt idx="5">
                  <c:v>10.37</c:v>
                </c:pt>
                <c:pt idx="6">
                  <c:v>10.57</c:v>
                </c:pt>
                <c:pt idx="7">
                  <c:v>10.77</c:v>
                </c:pt>
                <c:pt idx="8">
                  <c:v>10.97</c:v>
                </c:pt>
                <c:pt idx="9">
                  <c:v>11.17</c:v>
                </c:pt>
                <c:pt idx="10">
                  <c:v>11.37</c:v>
                </c:pt>
                <c:pt idx="11">
                  <c:v>11.57</c:v>
                </c:pt>
                <c:pt idx="12">
                  <c:v>11.77</c:v>
                </c:pt>
                <c:pt idx="13">
                  <c:v>11.97</c:v>
                </c:pt>
                <c:pt idx="14">
                  <c:v>12.17</c:v>
                </c:pt>
                <c:pt idx="15">
                  <c:v>12.37</c:v>
                </c:pt>
                <c:pt idx="16">
                  <c:v>12.57</c:v>
                </c:pt>
                <c:pt idx="17">
                  <c:v>12.77</c:v>
                </c:pt>
                <c:pt idx="18">
                  <c:v>12.97</c:v>
                </c:pt>
                <c:pt idx="19">
                  <c:v>13.17</c:v>
                </c:pt>
                <c:pt idx="20">
                  <c:v>13.37</c:v>
                </c:pt>
              </c:strCache>
            </c:strRef>
          </c:cat>
          <c:val>
            <c:numRef>
              <c:f>Sheet1!$E$2:$E$22</c:f>
              <c:numCache>
                <c:formatCode>General</c:formatCode>
                <c:ptCount val="21"/>
                <c:pt idx="0">
                  <c:v>0.511802238394369</c:v>
                </c:pt>
                <c:pt idx="1">
                  <c:v>0.52200490843837377</c:v>
                </c:pt>
                <c:pt idx="2">
                  <c:v>0.53178986425335084</c:v>
                </c:pt>
                <c:pt idx="3">
                  <c:v>0.54118224410784732</c:v>
                </c:pt>
                <c:pt idx="4">
                  <c:v>0.5502052088254904</c:v>
                </c:pt>
                <c:pt idx="5">
                  <c:v>0.55888013247398616</c:v>
                </c:pt>
                <c:pt idx="6">
                  <c:v>0.567226771405415</c:v>
                </c:pt>
                <c:pt idx="7">
                  <c:v>0.5752634144619535</c:v>
                </c:pt>
                <c:pt idx="8">
                  <c:v>0.58300701675070543</c:v>
                </c:pt>
                <c:pt idx="9">
                  <c:v>0.59047331904702216</c:v>
                </c:pt>
                <c:pt idx="10">
                  <c:v>0.5976769545958871</c:v>
                </c:pt>
                <c:pt idx="11">
                  <c:v>0.60463154483623494</c:v>
                </c:pt>
                <c:pt idx="12">
                  <c:v>0.61134978536578055</c:v>
                </c:pt>
                <c:pt idx="13">
                  <c:v>0.61784352328782277</c:v>
                </c:pt>
                <c:pt idx="14">
                  <c:v>0.62412382693140822</c:v>
                </c:pt>
                <c:pt idx="15">
                  <c:v>0.6302010488080223</c:v>
                </c:pt>
                <c:pt idx="16">
                  <c:v>0.63608488255809359</c:v>
                </c:pt>
                <c:pt idx="17">
                  <c:v>0.64178441454622071</c:v>
                </c:pt>
                <c:pt idx="18">
                  <c:v>0.64730817068274771</c:v>
                </c:pt>
                <c:pt idx="19">
                  <c:v>0.65266415897913743</c:v>
                </c:pt>
                <c:pt idx="20">
                  <c:v>0.657859908283862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Schick (1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quate (21.7%)</c:v>
                </c:pt>
                <c:pt idx="1">
                  <c:v>Gillette (38.7%)</c:v>
                </c:pt>
                <c:pt idx="2">
                  <c:v>Bic (16.9%)</c:v>
                </c:pt>
                <c:pt idx="3">
                  <c:v>Dollar Shave Club (2.9%)</c:v>
                </c:pt>
                <c:pt idx="4">
                  <c:v>Harrys (11.2%)</c:v>
                </c:pt>
                <c:pt idx="5">
                  <c:v>Van Der Hagen (2.0%)</c:v>
                </c:pt>
              </c:strCache>
            </c:strRef>
          </c:cat>
          <c:val>
            <c:numRef>
              <c:f>Sheet1!$B$2:$B$7</c:f>
              <c:numCache>
                <c:formatCode>General</c:formatCode>
                <c:ptCount val="6"/>
                <c:pt idx="0">
                  <c:v>0.36791044594733763</c:v>
                </c:pt>
                <c:pt idx="1">
                  <c:v>0.29000450712867853</c:v>
                </c:pt>
                <c:pt idx="2">
                  <c:v>0.22226650379603805</c:v>
                </c:pt>
                <c:pt idx="3">
                  <c:v>1.8615745074919487E-2</c:v>
                </c:pt>
                <c:pt idx="4">
                  <c:v>1.5421116036608657E-2</c:v>
                </c:pt>
                <c:pt idx="5">
                  <c:v>2.6617259820955422E-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3 Sensitive Disposable Razors 8 Pack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Gillette Mach 3 Sensitive Skin Disposable Razors 3 Pack (2.4%)</c:v>
                </c:pt>
                <c:pt idx="3">
                  <c:v>Equate Speed 3 Disposable Razors 4 Pack (2.3%)</c:v>
                </c:pt>
                <c:pt idx="4">
                  <c:v>Bic Flex 4 Sensitive Skin Disposable Razors 3 Pack (1.7%)</c:v>
                </c:pt>
                <c:pt idx="5">
                  <c:v>Gillette Sensor 3 Sensitive Disposable Razors 4 Pack (2.3%)</c:v>
                </c:pt>
                <c:pt idx="6">
                  <c:v>Schick Hydro 5 Blade Sensitive 1 Handle + 3 Cartridges (2.0%)</c:v>
                </c:pt>
                <c:pt idx="7">
                  <c:v>Bic Comfort 3 Sensitive Skin Disposable Razors 4 Pack (2.0%)</c:v>
                </c:pt>
                <c:pt idx="8">
                  <c:v>Equate Speed 3 Disposable Razors 8 Pack (1.9%)</c:v>
                </c:pt>
                <c:pt idx="9">
                  <c:v>Equate Caliber 5 Disposable Razors 3 Pack (2.2%)</c:v>
                </c:pt>
              </c:strCache>
            </c:strRef>
          </c:cat>
          <c:val>
            <c:numRef>
              <c:f>Sheet1!$B$2:$B$11</c:f>
              <c:numCache>
                <c:formatCode>General</c:formatCode>
                <c:ptCount val="10"/>
                <c:pt idx="0">
                  <c:v>0.16969985116032923</c:v>
                </c:pt>
                <c:pt idx="1">
                  <c:v>8.6230885578772079E-2</c:v>
                </c:pt>
                <c:pt idx="2">
                  <c:v>7.7700432418628937E-2</c:v>
                </c:pt>
                <c:pt idx="3">
                  <c:v>6.8487868694258991E-2</c:v>
                </c:pt>
                <c:pt idx="4">
                  <c:v>5.1424474917262333E-2</c:v>
                </c:pt>
                <c:pt idx="5">
                  <c:v>4.6255760707202678E-2</c:v>
                </c:pt>
                <c:pt idx="6">
                  <c:v>4.410468190110392E-2</c:v>
                </c:pt>
                <c:pt idx="7">
                  <c:v>3.8437522642274048E-2</c:v>
                </c:pt>
                <c:pt idx="8">
                  <c:v>3.8082403400609824E-2</c:v>
                </c:pt>
                <c:pt idx="9">
                  <c:v>3.434654279539568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3 Sensitive Disposable Razors 8 Pack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Gillette Mach 3 Sensitive Skin Disposable Razors 3 Pack (2.4%)</c:v>
                </c:pt>
                <c:pt idx="3">
                  <c:v>Schick Hydro 5 Blade Sensitive 1 Handle + 3 Cartridges (2.0%)</c:v>
                </c:pt>
                <c:pt idx="4">
                  <c:v>Bic Flex 4 Sensitive Skin Disposable Razors 3 Pack (1.7%)</c:v>
                </c:pt>
                <c:pt idx="5">
                  <c:v>Equate Speed 3 Disposable Razors 4 Pack (2.3%)</c:v>
                </c:pt>
                <c:pt idx="6">
                  <c:v>Gillette Sensor 3 Sensitive Disposable Razors 4 Pack (2.3%)</c:v>
                </c:pt>
                <c:pt idx="7">
                  <c:v>Bic Comfort 3 Sensitive Skin Disposable Razors 4 Pack (2.0%)</c:v>
                </c:pt>
                <c:pt idx="8">
                  <c:v>Equate Speed 3 Disposable Razors 8 Pack (1.9%)</c:v>
                </c:pt>
                <c:pt idx="9">
                  <c:v>Gillette Mach 3 1 Handle + 2 Cartridges (2.7%)</c:v>
                </c:pt>
              </c:strCache>
            </c:strRef>
          </c:cat>
          <c:val>
            <c:numRef>
              <c:f>Sheet1!$B$2:$B$11</c:f>
              <c:numCache>
                <c:formatCode>General</c:formatCode>
                <c:ptCount val="10"/>
                <c:pt idx="0">
                  <c:v>0.13724074804050002</c:v>
                </c:pt>
                <c:pt idx="1">
                  <c:v>7.9339955199531895E-2</c:v>
                </c:pt>
                <c:pt idx="2">
                  <c:v>6.3837227474156363E-2</c:v>
                </c:pt>
                <c:pt idx="3">
                  <c:v>5.1738697304894755E-2</c:v>
                </c:pt>
                <c:pt idx="4">
                  <c:v>4.8078353674933967E-2</c:v>
                </c:pt>
                <c:pt idx="5">
                  <c:v>4.7034779160753687E-2</c:v>
                </c:pt>
                <c:pt idx="6">
                  <c:v>4.3212824731299435E-2</c:v>
                </c:pt>
                <c:pt idx="7">
                  <c:v>3.7605891198463214E-2</c:v>
                </c:pt>
                <c:pt idx="8">
                  <c:v>3.2434101283579785E-2</c:v>
                </c:pt>
                <c:pt idx="9">
                  <c:v>3.012616429121784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B$2:$B$32</c:f>
              <c:numCache>
                <c:formatCode>General</c:formatCode>
                <c:ptCount val="31"/>
                <c:pt idx="0">
                  <c:v>136.08480434308785</c:v>
                </c:pt>
                <c:pt idx="1">
                  <c:v>132.11052548143945</c:v>
                </c:pt>
                <c:pt idx="2">
                  <c:v>128.43218668244947</c:v>
                </c:pt>
                <c:pt idx="3">
                  <c:v>125.01568397066998</c:v>
                </c:pt>
                <c:pt idx="4">
                  <c:v>121.83180265514204</c:v>
                </c:pt>
                <c:pt idx="5">
                  <c:v>118.69783268351131</c:v>
                </c:pt>
                <c:pt idx="6">
                  <c:v>115.58756197107456</c:v>
                </c:pt>
                <c:pt idx="7">
                  <c:v>112.64251470924007</c:v>
                </c:pt>
                <c:pt idx="8">
                  <c:v>109.85035696336914</c:v>
                </c:pt>
                <c:pt idx="9">
                  <c:v>107.19984363464393</c:v>
                </c:pt>
                <c:pt idx="10">
                  <c:v>104.68071812090871</c:v>
                </c:pt>
                <c:pt idx="11">
                  <c:v>102.28361990818351</c:v>
                </c:pt>
                <c:pt idx="12">
                  <c:v>100</c:v>
                </c:pt>
                <c:pt idx="13">
                  <c:v>96.66624178015401</c:v>
                </c:pt>
                <c:pt idx="14">
                  <c:v>93.542132319177512</c:v>
                </c:pt>
                <c:pt idx="15">
                  <c:v>90.608859530680647</c:v>
                </c:pt>
                <c:pt idx="16">
                  <c:v>87.849721746845205</c:v>
                </c:pt>
                <c:pt idx="17">
                  <c:v>85.249840310426265</c:v>
                </c:pt>
                <c:pt idx="18">
                  <c:v>82.750463850931368</c:v>
                </c:pt>
                <c:pt idx="19">
                  <c:v>80.377714318215965</c:v>
                </c:pt>
                <c:pt idx="20">
                  <c:v>78.124722746555292</c:v>
                </c:pt>
                <c:pt idx="21">
                  <c:v>75.984830691755718</c:v>
                </c:pt>
                <c:pt idx="22">
                  <c:v>73.951605678328221</c:v>
                </c:pt>
                <c:pt idx="23">
                  <c:v>72.018857116117445</c:v>
                </c:pt>
                <c:pt idx="24">
                  <c:v>70.180650822640999</c:v>
                </c:pt>
                <c:pt idx="25">
                  <c:v>68.431320893411737</c:v>
                </c:pt>
                <c:pt idx="26">
                  <c:v>66.765478199839734</c:v>
                </c:pt>
                <c:pt idx="27">
                  <c:v>65.178015231807606</c:v>
                </c:pt>
                <c:pt idx="28">
                  <c:v>63.664107330789008</c:v>
                </c:pt>
                <c:pt idx="29">
                  <c:v>62.219210585612181</c:v>
                </c:pt>
                <c:pt idx="30">
                  <c:v>60.8390568013982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C$2:$C$32</c:f>
              <c:numCache>
                <c:formatCode>General</c:formatCode>
                <c:ptCount val="31"/>
                <c:pt idx="0">
                  <c:v>114.33620286278942</c:v>
                </c:pt>
                <c:pt idx="1">
                  <c:v>112.75716150975956</c:v>
                </c:pt>
                <c:pt idx="2">
                  <c:v>111.32815048777395</c:v>
                </c:pt>
                <c:pt idx="3">
                  <c:v>110.0310895766634</c:v>
                </c:pt>
                <c:pt idx="4">
                  <c:v>108.85042971842587</c:v>
                </c:pt>
                <c:pt idx="5">
                  <c:v>107.63081390899029</c:v>
                </c:pt>
                <c:pt idx="6">
                  <c:v>106.3503241408492</c:v>
                </c:pt>
                <c:pt idx="7">
                  <c:v>105.14111932348986</c:v>
                </c:pt>
                <c:pt idx="8">
                  <c:v>103.99813004749976</c:v>
                </c:pt>
                <c:pt idx="9">
                  <c:v>102.91667524351402</c:v>
                </c:pt>
                <c:pt idx="10">
                  <c:v>101.89243686221855</c:v>
                </c:pt>
                <c:pt idx="11">
                  <c:v>100.92143441388271</c:v>
                </c:pt>
                <c:pt idx="12">
                  <c:v>100</c:v>
                </c:pt>
                <c:pt idx="13">
                  <c:v>97.961937012026794</c:v>
                </c:pt>
                <c:pt idx="14">
                  <c:v>96.049454699848951</c:v>
                </c:pt>
                <c:pt idx="15">
                  <c:v>94.25147447043517</c:v>
                </c:pt>
                <c:pt idx="16">
                  <c:v>92.558122360969278</c:v>
                </c:pt>
                <c:pt idx="17">
                  <c:v>90.960565779135877</c:v>
                </c:pt>
                <c:pt idx="18">
                  <c:v>89.401507004095549</c:v>
                </c:pt>
                <c:pt idx="19">
                  <c:v>87.913991192044293</c:v>
                </c:pt>
                <c:pt idx="20">
                  <c:v>86.495490851216076</c:v>
                </c:pt>
                <c:pt idx="21">
                  <c:v>85.143349541968178</c:v>
                </c:pt>
                <c:pt idx="22">
                  <c:v>83.854812962309239</c:v>
                </c:pt>
                <c:pt idx="23">
                  <c:v>82.627061854771313</c:v>
                </c:pt>
                <c:pt idx="24">
                  <c:v>81.457244623749588</c:v>
                </c:pt>
                <c:pt idx="25">
                  <c:v>80.342508060156106</c:v>
                </c:pt>
                <c:pt idx="26">
                  <c:v>79.280025070017118</c:v>
                </c:pt>
                <c:pt idx="27">
                  <c:v>78.267018749104395</c:v>
                </c:pt>
                <c:pt idx="28">
                  <c:v>77.300782512711791</c:v>
                </c:pt>
                <c:pt idx="29">
                  <c:v>76.378696271203879</c:v>
                </c:pt>
                <c:pt idx="30">
                  <c:v>75.49823884240130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D$2:$D$32</c:f>
              <c:numCache>
                <c:formatCode>General</c:formatCode>
                <c:ptCount val="31"/>
                <c:pt idx="0">
                  <c:v>93.705881972225782</c:v>
                </c:pt>
                <c:pt idx="1">
                  <c:v>94.397694477176401</c:v>
                </c:pt>
                <c:pt idx="2">
                  <c:v>95.102371402868869</c:v>
                </c:pt>
                <c:pt idx="3">
                  <c:v>95.816814238071728</c:v>
                </c:pt>
                <c:pt idx="4">
                  <c:v>96.538258520669487</c:v>
                </c:pt>
                <c:pt idx="5">
                  <c:v>97.135295614460375</c:v>
                </c:pt>
                <c:pt idx="6">
                  <c:v>97.589680651938835</c:v>
                </c:pt>
                <c:pt idx="7">
                  <c:v>98.026419223888311</c:v>
                </c:pt>
                <c:pt idx="8">
                  <c:v>98.447321009344066</c:v>
                </c:pt>
                <c:pt idx="9">
                  <c:v>98.853919426773516</c:v>
                </c:pt>
                <c:pt idx="10">
                  <c:v>99.247517786275594</c:v>
                </c:pt>
                <c:pt idx="11">
                  <c:v>99.629227543054895</c:v>
                </c:pt>
                <c:pt idx="12">
                  <c:v>100</c:v>
                </c:pt>
                <c:pt idx="13">
                  <c:v>99.174855909935914</c:v>
                </c:pt>
                <c:pt idx="14">
                  <c:v>98.397211208030981</c:v>
                </c:pt>
                <c:pt idx="15">
                  <c:v>97.663111184087398</c:v>
                </c:pt>
                <c:pt idx="16">
                  <c:v>96.968977826863394</c:v>
                </c:pt>
                <c:pt idx="17">
                  <c:v>96.311558963498641</c:v>
                </c:pt>
                <c:pt idx="18">
                  <c:v>95.63535390393892</c:v>
                </c:pt>
                <c:pt idx="19">
                  <c:v>94.979054589805372</c:v>
                </c:pt>
                <c:pt idx="20">
                  <c:v>94.34422438503023</c:v>
                </c:pt>
                <c:pt idx="21">
                  <c:v>93.73197331061796</c:v>
                </c:pt>
                <c:pt idx="22">
                  <c:v>93.143004817091622</c:v>
                </c:pt>
                <c:pt idx="23">
                  <c:v>92.577665565652254</c:v>
                </c:pt>
                <c:pt idx="24">
                  <c:v>92.035995859188716</c:v>
                </c:pt>
                <c:pt idx="25">
                  <c:v>91.517778787808297</c:v>
                </c:pt>
                <c:pt idx="26">
                  <c:v>91.022586624987028</c:v>
                </c:pt>
                <c:pt idx="27">
                  <c:v>90.549823468675712</c:v>
                </c:pt>
                <c:pt idx="28">
                  <c:v>90.098763528255205</c:v>
                </c:pt>
                <c:pt idx="29">
                  <c:v>89.668584793794054</c:v>
                </c:pt>
                <c:pt idx="30">
                  <c:v>89.25839808364783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E$2:$E$32</c:f>
              <c:numCache>
                <c:formatCode>General</c:formatCode>
                <c:ptCount val="31"/>
                <c:pt idx="0">
                  <c:v>0.42217538450262804</c:v>
                </c:pt>
                <c:pt idx="1">
                  <c:v>0.43122510440078587</c:v>
                </c:pt>
                <c:pt idx="2">
                  <c:v>0.4399957273090237</c:v>
                </c:pt>
                <c:pt idx="3">
                  <c:v>0.44849996835216677</c:v>
                </c:pt>
                <c:pt idx="4">
                  <c:v>0.45674978183979342</c:v>
                </c:pt>
                <c:pt idx="5">
                  <c:v>0.46475641733220624</c:v>
                </c:pt>
                <c:pt idx="6">
                  <c:v>0.47253047082048188</c:v>
                </c:pt>
                <c:pt idx="7">
                  <c:v>0.48008193151023881</c:v>
                </c:pt>
                <c:pt idx="8">
                  <c:v>0.48742022464347473</c:v>
                </c:pt>
                <c:pt idx="9">
                  <c:v>0.49455425074447024</c:v>
                </c:pt>
                <c:pt idx="10">
                  <c:v>0.50149242163335872</c:v>
                </c:pt>
                <c:pt idx="11">
                  <c:v>0.50824269351374662</c:v>
                </c:pt>
                <c:pt idx="12">
                  <c:v>0.51481259740801855</c:v>
                </c:pt>
                <c:pt idx="13">
                  <c:v>0.52120926718510463</c:v>
                </c:pt>
                <c:pt idx="14">
                  <c:v>0.52743946540000231</c:v>
                </c:pt>
                <c:pt idx="15">
                  <c:v>0.5335096071418135</c:v>
                </c:pt>
                <c:pt idx="16">
                  <c:v>0.5394257820670918</c:v>
                </c:pt>
                <c:pt idx="17">
                  <c:v>0.54519377477758535</c:v>
                </c:pt>
                <c:pt idx="18">
                  <c:v>0.55081908368571675</c:v>
                </c:pt>
                <c:pt idx="19">
                  <c:v>0.55630693849713142</c:v>
                </c:pt>
                <c:pt idx="20">
                  <c:v>0.5616623164271598</c:v>
                </c:pt>
                <c:pt idx="21">
                  <c:v>0.5668899572568894</c:v>
                </c:pt>
                <c:pt idx="22">
                  <c:v>0.57199437732457492</c:v>
                </c:pt>
                <c:pt idx="23">
                  <c:v>0.57697988253919841</c:v>
                </c:pt>
                <c:pt idx="24">
                  <c:v>0.58185058049499361</c:v>
                </c:pt>
                <c:pt idx="25">
                  <c:v>0.58661039175856777</c:v>
                </c:pt>
                <c:pt idx="26">
                  <c:v>0.59126306039381193</c:v>
                </c:pt>
                <c:pt idx="27">
                  <c:v>0.59581216378397539</c:v>
                </c:pt>
                <c:pt idx="28">
                  <c:v>0.60026112180506541</c:v>
                </c:pt>
                <c:pt idx="29">
                  <c:v>0.60461320540000196</c:v>
                </c:pt>
                <c:pt idx="30">
                  <c:v>0.6088715445987096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3 Sensitive Disposable Razors 12 Pack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2 Sensitive Disposable Razors 12 Pack (2.7%)</c:v>
                </c:pt>
                <c:pt idx="1">
                  <c:v>Schick Xtreme 3 Sensitive Disposable Razors 4 Pack (2.8%)</c:v>
                </c:pt>
                <c:pt idx="2">
                  <c:v>Schick Xtreme 3 Sensitive Disposable Razors 8 Pack (1.7%)</c:v>
                </c:pt>
                <c:pt idx="3">
                  <c:v>Equate Speed 3 Disposable Razors 8 Pack (1.9%)</c:v>
                </c:pt>
                <c:pt idx="4">
                  <c:v>None Razors (12.2%)</c:v>
                </c:pt>
                <c:pt idx="5">
                  <c:v>Bic Men Sensitive Single Blade Disposable Razors 12 Pack (5.7%)</c:v>
                </c:pt>
                <c:pt idx="6">
                  <c:v>Gillette Sensor 3 Sensitive Disposable Razors 12 Pack (1.6%)</c:v>
                </c:pt>
                <c:pt idx="7">
                  <c:v>Equate 2 Blade Disposable Razors 12 Pack (5.7%)</c:v>
                </c:pt>
                <c:pt idx="8">
                  <c:v>Equate Speed 3 Disposable Razors 4 Pack (2.3%)</c:v>
                </c:pt>
                <c:pt idx="9">
                  <c:v>Gillette Mach 3 Sensitive Skin Disposable Razors 3 Pack (2.4%)</c:v>
                </c:pt>
              </c:strCache>
            </c:strRef>
          </c:cat>
          <c:val>
            <c:numRef>
              <c:f>Sheet1!$B$2:$B$11</c:f>
              <c:numCache>
                <c:formatCode>General</c:formatCode>
                <c:ptCount val="10"/>
                <c:pt idx="0">
                  <c:v>0.12879859408678099</c:v>
                </c:pt>
                <c:pt idx="1">
                  <c:v>0.11234493538158305</c:v>
                </c:pt>
                <c:pt idx="2">
                  <c:v>7.7693949737033086E-2</c:v>
                </c:pt>
                <c:pt idx="3">
                  <c:v>4.1259953460627122E-2</c:v>
                </c:pt>
                <c:pt idx="4">
                  <c:v>3.9177335921425152E-2</c:v>
                </c:pt>
                <c:pt idx="5">
                  <c:v>3.9142909593899197E-2</c:v>
                </c:pt>
                <c:pt idx="6">
                  <c:v>3.9035005730151777E-2</c:v>
                </c:pt>
                <c:pt idx="7">
                  <c:v>3.8855051137400683E-2</c:v>
                </c:pt>
                <c:pt idx="8">
                  <c:v>3.8013448770664621E-2</c:v>
                </c:pt>
                <c:pt idx="9">
                  <c:v>3.7508076996745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3 Sensitive Disposable Razors 12 Pack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2 Sensitive Disposable Razors 12 Pack (2.7%)</c:v>
                </c:pt>
                <c:pt idx="1">
                  <c:v>Schick Xtreme 3 Sensitive Disposable Razors 4 Pack (2.8%)</c:v>
                </c:pt>
                <c:pt idx="2">
                  <c:v>Schick Xtreme 3 Sensitive Disposable Razors 8 Pack (1.7%)</c:v>
                </c:pt>
                <c:pt idx="3">
                  <c:v>Gillette Sensor 3 Sensitive Disposable Razors 12 Pack (1.6%)</c:v>
                </c:pt>
                <c:pt idx="4">
                  <c:v>None Razors (12.2%)</c:v>
                </c:pt>
                <c:pt idx="5">
                  <c:v>Equate 2 Blade Disposable Razors 12 Pack (5.7%)</c:v>
                </c:pt>
                <c:pt idx="6">
                  <c:v>Equate Speed 3 Disposable Razors 8 Pack (1.9%)</c:v>
                </c:pt>
                <c:pt idx="7">
                  <c:v>Gillette Sensor 3 Sensitive Disposable Razors 8 Pack (1.8%)</c:v>
                </c:pt>
                <c:pt idx="8">
                  <c:v>Equate Speed 3 Disposable Razors 4 Pack (2.3%)</c:v>
                </c:pt>
                <c:pt idx="9">
                  <c:v>Gillette Mach 3 Sensitive Skin Disposable Razors 3 Pack (2.4%)</c:v>
                </c:pt>
              </c:strCache>
            </c:strRef>
          </c:cat>
          <c:val>
            <c:numRef>
              <c:f>Sheet1!$B$2:$B$11</c:f>
              <c:numCache>
                <c:formatCode>General</c:formatCode>
                <c:ptCount val="10"/>
                <c:pt idx="0">
                  <c:v>9.7963097429302717E-2</c:v>
                </c:pt>
                <c:pt idx="1">
                  <c:v>9.1849731411875482E-2</c:v>
                </c:pt>
                <c:pt idx="2">
                  <c:v>8.0222124796464608E-2</c:v>
                </c:pt>
                <c:pt idx="3">
                  <c:v>6.8235594007027042E-2</c:v>
                </c:pt>
                <c:pt idx="4">
                  <c:v>5.3143693446667445E-2</c:v>
                </c:pt>
                <c:pt idx="5">
                  <c:v>4.1997170918534915E-2</c:v>
                </c:pt>
                <c:pt idx="6">
                  <c:v>3.5860667525501141E-2</c:v>
                </c:pt>
                <c:pt idx="7">
                  <c:v>3.5487800355477758E-2</c:v>
                </c:pt>
                <c:pt idx="8">
                  <c:v>3.4587935439660274E-2</c:v>
                </c:pt>
                <c:pt idx="9">
                  <c:v>3.3367616279153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3 Blade Ultra Sensitive 1 Handle + 4 Cartridges</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4700000000000006</c:v>
                </c:pt>
                <c:pt idx="1">
                  <c:v>8.9700000000000006</c:v>
                </c:pt>
                <c:pt idx="2">
                  <c:v>9.9700000000000006</c:v>
                </c:pt>
                <c:pt idx="3">
                  <c:v>10.97</c:v>
                </c:pt>
                <c:pt idx="4">
                  <c:v>12.47</c:v>
                </c:pt>
              </c:numCache>
            </c:numRef>
          </c:xVal>
          <c:yVal>
            <c:numRef>
              <c:f>Sheet1!$B$2:$B$6</c:f>
              <c:numCache>
                <c:formatCode>General</c:formatCode>
                <c:ptCount val="5"/>
                <c:pt idx="0">
                  <c:v>0.14868556690766832</c:v>
                </c:pt>
                <c:pt idx="1">
                  <c:v>6.6395977419619445E-2</c:v>
                </c:pt>
                <c:pt idx="2">
                  <c:v>0</c:v>
                </c:pt>
                <c:pt idx="3">
                  <c:v>-0.23236339722033852</c:v>
                </c:pt>
                <c:pt idx="4">
                  <c:v>-0.36511977388263761</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5 Blade Sensitive 1 Handle + 3 Cartridges</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8.4700000000000006</c:v>
                </c:pt>
                <c:pt idx="1">
                  <c:v>8.9700000000000006</c:v>
                </c:pt>
                <c:pt idx="2">
                  <c:v>9.9700000000000006</c:v>
                </c:pt>
                <c:pt idx="3">
                  <c:v>10.97</c:v>
                </c:pt>
                <c:pt idx="4">
                  <c:v>12.47</c:v>
                </c:pt>
              </c:numCache>
            </c:numRef>
          </c:xVal>
          <c:yVal>
            <c:numRef>
              <c:f>Sheet1!$B$9:$B$13</c:f>
              <c:numCache>
                <c:formatCode>General</c:formatCode>
                <c:ptCount val="5"/>
                <c:pt idx="0">
                  <c:v>8.7780732015644777E-2</c:v>
                </c:pt>
                <c:pt idx="1">
                  <c:v>4.2052277084424293E-2</c:v>
                </c:pt>
                <c:pt idx="2">
                  <c:v>0</c:v>
                </c:pt>
                <c:pt idx="3">
                  <c:v>-0.15486482584029701</c:v>
                </c:pt>
                <c:pt idx="4">
                  <c:v>-0.2506734024659056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2.47"/>
          <c:min val="8.4700000000000006"/>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B$2:$B$21</c:f>
              <c:numCache>
                <c:formatCode>General</c:formatCode>
                <c:ptCount val="20"/>
                <c:pt idx="0">
                  <c:v>113.07584276062437</c:v>
                </c:pt>
                <c:pt idx="1">
                  <c:v>109.71939058953923</c:v>
                </c:pt>
                <c:pt idx="2">
                  <c:v>106.63959774196195</c:v>
                </c:pt>
                <c:pt idx="3">
                  <c:v>105.23156872976855</c:v>
                </c:pt>
                <c:pt idx="4">
                  <c:v>103.86530141310315</c:v>
                </c:pt>
                <c:pt idx="5">
                  <c:v>102.5390446131382</c:v>
                </c:pt>
                <c:pt idx="6">
                  <c:v>101.2511366925259</c:v>
                </c:pt>
                <c:pt idx="7">
                  <c:v>100</c:v>
                </c:pt>
                <c:pt idx="8">
                  <c:v>93.574561089872958</c:v>
                </c:pt>
                <c:pt idx="9">
                  <c:v>88.263172427331654</c:v>
                </c:pt>
                <c:pt idx="10">
                  <c:v>83.810953017597654</c:v>
                </c:pt>
                <c:pt idx="11">
                  <c:v>80.025706521324764</c:v>
                </c:pt>
                <c:pt idx="12">
                  <c:v>76.76366027796611</c:v>
                </c:pt>
                <c:pt idx="13">
                  <c:v>74.575208554453425</c:v>
                </c:pt>
                <c:pt idx="14">
                  <c:v>72.541324815011194</c:v>
                </c:pt>
                <c:pt idx="15">
                  <c:v>70.645842027262844</c:v>
                </c:pt>
                <c:pt idx="16">
                  <c:v>68.874618685649253</c:v>
                </c:pt>
                <c:pt idx="17">
                  <c:v>67.21526125238438</c:v>
                </c:pt>
                <c:pt idx="18">
                  <c:v>65.656885717372873</c:v>
                </c:pt>
                <c:pt idx="19">
                  <c:v>64.18991309175920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C$2:$C$21</c:f>
              <c:numCache>
                <c:formatCode>General</c:formatCode>
                <c:ptCount val="20"/>
                <c:pt idx="0">
                  <c:v>97.216222650265877</c:v>
                </c:pt>
                <c:pt idx="1">
                  <c:v>96.529436512044356</c:v>
                </c:pt>
                <c:pt idx="2">
                  <c:v>95.95704118325304</c:v>
                </c:pt>
                <c:pt idx="3">
                  <c:v>96.79846915593987</c:v>
                </c:pt>
                <c:pt idx="4">
                  <c:v>97.622672479109781</c:v>
                </c:pt>
                <c:pt idx="5">
                  <c:v>98.430483787760764</c:v>
                </c:pt>
                <c:pt idx="6">
                  <c:v>99.222682848717483</c:v>
                </c:pt>
                <c:pt idx="7">
                  <c:v>100</c:v>
                </c:pt>
                <c:pt idx="8">
                  <c:v>95.451106653202288</c:v>
                </c:pt>
                <c:pt idx="9">
                  <c:v>91.803114687569519</c:v>
                </c:pt>
                <c:pt idx="10">
                  <c:v>88.852857749905894</c:v>
                </c:pt>
                <c:pt idx="11">
                  <c:v>86.444433125323926</c:v>
                </c:pt>
                <c:pt idx="12">
                  <c:v>84.459795898057195</c:v>
                </c:pt>
                <c:pt idx="13">
                  <c:v>83.546618728831007</c:v>
                </c:pt>
                <c:pt idx="14">
                  <c:v>82.721977836947403</c:v>
                </c:pt>
                <c:pt idx="15">
                  <c:v>81.976405649959034</c:v>
                </c:pt>
                <c:pt idx="16">
                  <c:v>81.301529891274157</c:v>
                </c:pt>
                <c:pt idx="17">
                  <c:v>80.689943255657951</c:v>
                </c:pt>
                <c:pt idx="18">
                  <c:v>80.135087478532654</c:v>
                </c:pt>
                <c:pt idx="19">
                  <c:v>79.63115084796997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D$2:$D$21</c:f>
              <c:numCache>
                <c:formatCode>General</c:formatCode>
                <c:ptCount val="20"/>
                <c:pt idx="0">
                  <c:v>86.754362390648211</c:v>
                </c:pt>
                <c:pt idx="1">
                  <c:v>87.827812221037931</c:v>
                </c:pt>
                <c:pt idx="2">
                  <c:v>88.908691209929501</c:v>
                </c:pt>
                <c:pt idx="3">
                  <c:v>91.234133263955812</c:v>
                </c:pt>
                <c:pt idx="4">
                  <c:v>93.503525917287774</c:v>
                </c:pt>
                <c:pt idx="5">
                  <c:v>95.719400674425017</c:v>
                </c:pt>
                <c:pt idx="6">
                  <c:v>97.884142669721513</c:v>
                </c:pt>
                <c:pt idx="7">
                  <c:v>100</c:v>
                </c:pt>
                <c:pt idx="8">
                  <c:v>96.686279122559441</c:v>
                </c:pt>
                <c:pt idx="9">
                  <c:v>94.133359838640203</c:v>
                </c:pt>
                <c:pt idx="10">
                  <c:v>92.172073309394321</c:v>
                </c:pt>
                <c:pt idx="11">
                  <c:v>90.67037024875458</c:v>
                </c:pt>
                <c:pt idx="12">
                  <c:v>89.527111324909896</c:v>
                </c:pt>
                <c:pt idx="13">
                  <c:v>89.454702631526771</c:v>
                </c:pt>
                <c:pt idx="14">
                  <c:v>89.427292768152668</c:v>
                </c:pt>
                <c:pt idx="15">
                  <c:v>89.439833728440917</c:v>
                </c:pt>
                <c:pt idx="16">
                  <c:v>89.487758775874383</c:v>
                </c:pt>
                <c:pt idx="17">
                  <c:v>89.566949368762323</c:v>
                </c:pt>
                <c:pt idx="18">
                  <c:v>89.673700134126463</c:v>
                </c:pt>
                <c:pt idx="19">
                  <c:v>89.80468374196195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E$2:$E$21</c:f>
              <c:numCache>
                <c:formatCode>General</c:formatCode>
                <c:ptCount val="20"/>
                <c:pt idx="0">
                  <c:v>0.5384287293674942</c:v>
                </c:pt>
                <c:pt idx="1">
                  <c:v>0.54895487008887411</c:v>
                </c:pt>
                <c:pt idx="2">
                  <c:v>0.55901161769001406</c:v>
                </c:pt>
                <c:pt idx="3">
                  <c:v>0.56862968491596788</c:v>
                </c:pt>
                <c:pt idx="4">
                  <c:v>0.57783716229236137</c:v>
                </c:pt>
                <c:pt idx="5">
                  <c:v>0.58665979212951158</c:v>
                </c:pt>
                <c:pt idx="6">
                  <c:v>0.59512120887199849</c:v>
                </c:pt>
                <c:pt idx="7">
                  <c:v>0.60324315051950106</c:v>
                </c:pt>
                <c:pt idx="8">
                  <c:v>0.61104564510122161</c:v>
                </c:pt>
                <c:pt idx="9">
                  <c:v>0.61854717557178651</c:v>
                </c:pt>
                <c:pt idx="10">
                  <c:v>0.62576482598670069</c:v>
                </c:pt>
                <c:pt idx="11">
                  <c:v>0.63271441139084728</c:v>
                </c:pt>
                <c:pt idx="12">
                  <c:v>0.6394105934985802</c:v>
                </c:pt>
                <c:pt idx="13">
                  <c:v>0.64586698394623332</c:v>
                </c:pt>
                <c:pt idx="14">
                  <c:v>0.6520962366472669</c:v>
                </c:pt>
                <c:pt idx="15">
                  <c:v>0.65811013056866252</c:v>
                </c:pt>
                <c:pt idx="16">
                  <c:v>0.6639196440679207</c:v>
                </c:pt>
                <c:pt idx="17">
                  <c:v>0.66953502177772972</c:v>
                </c:pt>
                <c:pt idx="18">
                  <c:v>0.6749658348955978</c:v>
                </c:pt>
                <c:pt idx="19">
                  <c:v>0.6802210356248523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3 Blade Ultra Sensitive 1 Handle + 4 Cartridges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Equate Speed 3 Disposable Razors 4 Pack (2.3%)</c:v>
                </c:pt>
                <c:pt idx="2">
                  <c:v>Schick Xtreme 3 Sensitive Disposable Razors 4 Pack (2.8%)</c:v>
                </c:pt>
                <c:pt idx="3">
                  <c:v>None Blades (83.2%)</c:v>
                </c:pt>
                <c:pt idx="4">
                  <c:v>None Razors (12.2%)</c:v>
                </c:pt>
                <c:pt idx="5">
                  <c:v>Schick Xtreme 2 Sensitive Disposable Razors 12 Pack (2.7%)</c:v>
                </c:pt>
                <c:pt idx="6">
                  <c:v>Gillette Mach 3 Sensitive Skin Disposable Razors 3 Pack (2.4%)</c:v>
                </c:pt>
                <c:pt idx="7">
                  <c:v>Dollar Shave Club 6 1 Handle + 2 Blades (2.0%)</c:v>
                </c:pt>
                <c:pt idx="8">
                  <c:v>Gillette Mach 3 1 Handle + 2 Cartridges (2.7%)</c:v>
                </c:pt>
                <c:pt idx="9">
                  <c:v>Equate 2 Blade Disposable Razors 5 Pack (5.5%)</c:v>
                </c:pt>
              </c:strCache>
            </c:strRef>
          </c:cat>
          <c:val>
            <c:numRef>
              <c:f>Sheet1!$B$2:$B$11</c:f>
              <c:numCache>
                <c:formatCode>General</c:formatCode>
                <c:ptCount val="10"/>
                <c:pt idx="0">
                  <c:v>0.19906538711595004</c:v>
                </c:pt>
                <c:pt idx="1">
                  <c:v>0.10744373235545722</c:v>
                </c:pt>
                <c:pt idx="2">
                  <c:v>7.4571706162834706E-2</c:v>
                </c:pt>
                <c:pt idx="3">
                  <c:v>6.823848875892484E-2</c:v>
                </c:pt>
                <c:pt idx="4">
                  <c:v>5.5454866339235041E-2</c:v>
                </c:pt>
                <c:pt idx="5">
                  <c:v>4.7697623292028743E-2</c:v>
                </c:pt>
                <c:pt idx="6">
                  <c:v>3.9560743975777614E-2</c:v>
                </c:pt>
                <c:pt idx="7">
                  <c:v>3.785472276974719E-2</c:v>
                </c:pt>
                <c:pt idx="8">
                  <c:v>3.5201585057061509E-2</c:v>
                </c:pt>
                <c:pt idx="9">
                  <c:v>2.81219254313293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3 Blade Ultra Sensitive 1 Handle + 4 Cartridges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Equate Speed 3 Disposable Razors 4 Pack (2.3%)</c:v>
                </c:pt>
                <c:pt idx="2">
                  <c:v>None Blades (83.2%)</c:v>
                </c:pt>
                <c:pt idx="3">
                  <c:v>Schick Xtreme 3 Sensitive Disposable Razors 4 Pack (2.8%)</c:v>
                </c:pt>
                <c:pt idx="4">
                  <c:v>None Razors (12.2%)</c:v>
                </c:pt>
                <c:pt idx="5">
                  <c:v>Gillette Mach 3 1 Handle + 2 Cartridges (2.7%)</c:v>
                </c:pt>
                <c:pt idx="6">
                  <c:v>Dollar Shave Club 6 1 Handle + 2 Blades (2.0%)</c:v>
                </c:pt>
                <c:pt idx="7">
                  <c:v>Schick Xtreme 2 Sensitive Disposable Razors 12 Pack (2.7%)</c:v>
                </c:pt>
                <c:pt idx="8">
                  <c:v>Gillette Mach 3 Sensitive Skin Disposable Razors 3 Pack (2.4%)</c:v>
                </c:pt>
                <c:pt idx="9">
                  <c:v>Equate Easy Fit 5 blades 1 Handle + 2 Cartridges (1.1%)</c:v>
                </c:pt>
              </c:strCache>
            </c:strRef>
          </c:cat>
          <c:val>
            <c:numRef>
              <c:f>Sheet1!$B$2:$B$11</c:f>
              <c:numCache>
                <c:formatCode>General</c:formatCode>
                <c:ptCount val="10"/>
                <c:pt idx="0">
                  <c:v>0.2394888922538092</c:v>
                </c:pt>
                <c:pt idx="1">
                  <c:v>8.5929849517053458E-2</c:v>
                </c:pt>
                <c:pt idx="2">
                  <c:v>6.4471927274005886E-2</c:v>
                </c:pt>
                <c:pt idx="3">
                  <c:v>6.2734182679331812E-2</c:v>
                </c:pt>
                <c:pt idx="4">
                  <c:v>6.1435493961403111E-2</c:v>
                </c:pt>
                <c:pt idx="5">
                  <c:v>4.855993990050797E-2</c:v>
                </c:pt>
                <c:pt idx="6">
                  <c:v>4.5248800348181309E-2</c:v>
                </c:pt>
                <c:pt idx="7">
                  <c:v>3.8449354762390059E-2</c:v>
                </c:pt>
                <c:pt idx="8">
                  <c:v>3.719563191348766E-2</c:v>
                </c:pt>
                <c:pt idx="9">
                  <c:v>3.138881890110047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B$2:$B$21</c:f>
              <c:numCache>
                <c:formatCode>General</c:formatCode>
                <c:ptCount val="20"/>
                <c:pt idx="0">
                  <c:v>107.80637863534885</c:v>
                </c:pt>
                <c:pt idx="1">
                  <c:v>105.95176388934593</c:v>
                </c:pt>
                <c:pt idx="2">
                  <c:v>104.20522770844241</c:v>
                </c:pt>
                <c:pt idx="3">
                  <c:v>103.32624918210465</c:v>
                </c:pt>
                <c:pt idx="4">
                  <c:v>102.46696443860792</c:v>
                </c:pt>
                <c:pt idx="5">
                  <c:v>101.62662729398704</c:v>
                </c:pt>
                <c:pt idx="6">
                  <c:v>100.80452980835331</c:v>
                </c:pt>
                <c:pt idx="7">
                  <c:v>100</c:v>
                </c:pt>
                <c:pt idx="8">
                  <c:v>96.245344446196128</c:v>
                </c:pt>
                <c:pt idx="9">
                  <c:v>92.850348204317939</c:v>
                </c:pt>
                <c:pt idx="10">
                  <c:v>89.783096885330508</c:v>
                </c:pt>
                <c:pt idx="11">
                  <c:v>87.013583725407912</c:v>
                </c:pt>
                <c:pt idx="12">
                  <c:v>84.513517415970284</c:v>
                </c:pt>
                <c:pt idx="13">
                  <c:v>83.021096761280148</c:v>
                </c:pt>
                <c:pt idx="14">
                  <c:v>81.602691032772086</c:v>
                </c:pt>
                <c:pt idx="15">
                  <c:v>80.25376151093046</c:v>
                </c:pt>
                <c:pt idx="16">
                  <c:v>78.970003277284931</c:v>
                </c:pt>
                <c:pt idx="17">
                  <c:v>77.747323535155871</c:v>
                </c:pt>
                <c:pt idx="18">
                  <c:v>76.58181988403939</c:v>
                </c:pt>
                <c:pt idx="19">
                  <c:v>75.46976420175003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C$2:$C$21</c:f>
              <c:numCache>
                <c:formatCode>General</c:formatCode>
                <c:ptCount val="20"/>
                <c:pt idx="0">
                  <c:v>92.948443950217012</c:v>
                </c:pt>
                <c:pt idx="1">
                  <c:v>93.442508736474124</c:v>
                </c:pt>
                <c:pt idx="2">
                  <c:v>93.959838468567554</c:v>
                </c:pt>
                <c:pt idx="3">
                  <c:v>95.201389050562057</c:v>
                </c:pt>
                <c:pt idx="4">
                  <c:v>96.425695694267233</c:v>
                </c:pt>
                <c:pt idx="5">
                  <c:v>97.633255018542869</c:v>
                </c:pt>
                <c:pt idx="6">
                  <c:v>98.824539672295714</c:v>
                </c:pt>
                <c:pt idx="7">
                  <c:v>100</c:v>
                </c:pt>
                <c:pt idx="8">
                  <c:v>98.156843904494821</c:v>
                </c:pt>
                <c:pt idx="9">
                  <c:v>96.537565951244503</c:v>
                </c:pt>
                <c:pt idx="10">
                  <c:v>95.129814947723986</c:v>
                </c:pt>
                <c:pt idx="11">
                  <c:v>93.920770818220262</c:v>
                </c:pt>
                <c:pt idx="12">
                  <c:v>92.897120043529441</c:v>
                </c:pt>
                <c:pt idx="13">
                  <c:v>92.8931376876223</c:v>
                </c:pt>
                <c:pt idx="14">
                  <c:v>92.914277975223598</c:v>
                </c:pt>
                <c:pt idx="15">
                  <c:v>92.959661933748649</c:v>
                </c:pt>
                <c:pt idx="16">
                  <c:v>93.028328826456601</c:v>
                </c:pt>
                <c:pt idx="17">
                  <c:v>93.119233341231762</c:v>
                </c:pt>
                <c:pt idx="18">
                  <c:v>93.231240212657227</c:v>
                </c:pt>
                <c:pt idx="19">
                  <c:v>93.36312320586050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D$2:$D$21</c:f>
              <c:numCache>
                <c:formatCode>General</c:formatCode>
                <c:ptCount val="20"/>
                <c:pt idx="0">
                  <c:v>73.996341623944218</c:v>
                </c:pt>
                <c:pt idx="1">
                  <c:v>77.470281461304396</c:v>
                </c:pt>
                <c:pt idx="2">
                  <c:v>80.861905765357548</c:v>
                </c:pt>
                <c:pt idx="3">
                  <c:v>84.809113695752274</c:v>
                </c:pt>
                <c:pt idx="4">
                  <c:v>88.694607377328083</c:v>
                </c:pt>
                <c:pt idx="5">
                  <c:v>92.520354485674758</c:v>
                </c:pt>
                <c:pt idx="6">
                  <c:v>96.288225503119207</c:v>
                </c:pt>
                <c:pt idx="7">
                  <c:v>100</c:v>
                </c:pt>
                <c:pt idx="8">
                  <c:v>100.55738542597632</c:v>
                </c:pt>
                <c:pt idx="9">
                  <c:v>101.1702208952552</c:v>
                </c:pt>
                <c:pt idx="10">
                  <c:v>101.85064348580678</c:v>
                </c:pt>
                <c:pt idx="11">
                  <c:v>102.60732037752187</c:v>
                </c:pt>
                <c:pt idx="12">
                  <c:v>103.44564096646351</c:v>
                </c:pt>
                <c:pt idx="13">
                  <c:v>105.33845913226097</c:v>
                </c:pt>
                <c:pt idx="14">
                  <c:v>107.19477601858189</c:v>
                </c:pt>
                <c:pt idx="15">
                  <c:v>109.01837431649597</c:v>
                </c:pt>
                <c:pt idx="16">
                  <c:v>110.81255140654545</c:v>
                </c:pt>
                <c:pt idx="17">
                  <c:v>112.58014034108838</c:v>
                </c:pt>
                <c:pt idx="18">
                  <c:v>114.32352492971066</c:v>
                </c:pt>
                <c:pt idx="19">
                  <c:v>116.0446576071201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E$2:$E$21</c:f>
              <c:numCache>
                <c:formatCode>General</c:formatCode>
                <c:ptCount val="20"/>
                <c:pt idx="0">
                  <c:v>0.35752944631408784</c:v>
                </c:pt>
                <c:pt idx="1">
                  <c:v>0.37218099827955892</c:v>
                </c:pt>
                <c:pt idx="2">
                  <c:v>0.38617919229785214</c:v>
                </c:pt>
                <c:pt idx="3">
                  <c:v>0.39956677807107222</c:v>
                </c:pt>
                <c:pt idx="4">
                  <c:v>0.41238285538012093</c:v>
                </c:pt>
                <c:pt idx="5">
                  <c:v>0.42466325547667005</c:v>
                </c:pt>
                <c:pt idx="6">
                  <c:v>0.43644087563067896</c:v>
                </c:pt>
                <c:pt idx="7">
                  <c:v>0.44774597341140754</c:v>
                </c:pt>
                <c:pt idx="8">
                  <c:v>0.45860642624500808</c:v>
                </c:pt>
                <c:pt idx="9">
                  <c:v>0.46904796093652201</c:v>
                </c:pt>
                <c:pt idx="10">
                  <c:v>0.47909435713450643</c:v>
                </c:pt>
                <c:pt idx="11">
                  <c:v>0.48876762812550917</c:v>
                </c:pt>
                <c:pt idx="12">
                  <c:v>0.49808818185157094</c:v>
                </c:pt>
                <c:pt idx="13">
                  <c:v>0.50707496462951962</c:v>
                </c:pt>
                <c:pt idx="14">
                  <c:v>0.51574558970199957</c:v>
                </c:pt>
                <c:pt idx="15">
                  <c:v>0.52411645245563809</c:v>
                </c:pt>
                <c:pt idx="16">
                  <c:v>0.53220283389224565</c:v>
                </c:pt>
                <c:pt idx="17">
                  <c:v>0.54001899372696183</c:v>
                </c:pt>
                <c:pt idx="18">
                  <c:v>0.54757825430663387</c:v>
                </c:pt>
                <c:pt idx="19">
                  <c:v>0.5548930763873671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Schick (1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quate (21.7%)</c:v>
                </c:pt>
                <c:pt idx="1">
                  <c:v>Gillette (38.7%)</c:v>
                </c:pt>
                <c:pt idx="2">
                  <c:v>Bic (16.9%)</c:v>
                </c:pt>
                <c:pt idx="3">
                  <c:v>Dollar Shave Club (2.9%)</c:v>
                </c:pt>
                <c:pt idx="4">
                  <c:v>Harrys (11.2%)</c:v>
                </c:pt>
                <c:pt idx="5">
                  <c:v>Van Der Hagen (2.0%)</c:v>
                </c:pt>
              </c:strCache>
            </c:strRef>
          </c:cat>
          <c:val>
            <c:numRef>
              <c:f>Sheet1!$B$2:$B$7</c:f>
              <c:numCache>
                <c:formatCode>General</c:formatCode>
                <c:ptCount val="6"/>
                <c:pt idx="0">
                  <c:v>0.37384003249487957</c:v>
                </c:pt>
                <c:pt idx="1">
                  <c:v>0.29187650614610444</c:v>
                </c:pt>
                <c:pt idx="2">
                  <c:v>0.20719566904552272</c:v>
                </c:pt>
                <c:pt idx="3">
                  <c:v>2.5397552411303145E-2</c:v>
                </c:pt>
                <c:pt idx="4">
                  <c:v>1.4062886175354469E-2</c:v>
                </c:pt>
                <c:pt idx="5">
                  <c:v>2.4080342647929101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Sensitive 1 Handle + 3 Cartridges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None Blades (83.2%)</c:v>
                </c:pt>
                <c:pt idx="2">
                  <c:v>None Razors (12.2%)</c:v>
                </c:pt>
                <c:pt idx="3">
                  <c:v>Equate Speed 3 Disposable Razors 4 Pack (2.3%)</c:v>
                </c:pt>
                <c:pt idx="4">
                  <c:v>Schick Xtreme 2 Sensitive Disposable Razors 12 Pack (2.7%)</c:v>
                </c:pt>
                <c:pt idx="5">
                  <c:v>Gillette Mach 3 1 Handle + 2 Cartridges (2.7%)</c:v>
                </c:pt>
                <c:pt idx="6">
                  <c:v>Schick Xtreme 3 Sensitive Disposable Razors 8 Pack (1.7%)</c:v>
                </c:pt>
                <c:pt idx="7">
                  <c:v>Gillette Mach 3 Sensitive Skin Disposable Razors 3 Pack (2.4%)</c:v>
                </c:pt>
                <c:pt idx="8">
                  <c:v>Dollar Shave Club 6 1 Handle + 2 Blades (2.0%)</c:v>
                </c:pt>
                <c:pt idx="9">
                  <c:v>Equate 2 Blade Disposable Razors 5 Pack (5.5%)</c:v>
                </c:pt>
              </c:strCache>
            </c:strRef>
          </c:cat>
          <c:val>
            <c:numRef>
              <c:f>Sheet1!$B$2:$B$11</c:f>
              <c:numCache>
                <c:formatCode>General</c:formatCode>
                <c:ptCount val="10"/>
                <c:pt idx="0">
                  <c:v>0.11204203072633086</c:v>
                </c:pt>
                <c:pt idx="1">
                  <c:v>9.1163534611499952E-2</c:v>
                </c:pt>
                <c:pt idx="2">
                  <c:v>8.6895888334758656E-2</c:v>
                </c:pt>
                <c:pt idx="3">
                  <c:v>7.5313462747874371E-2</c:v>
                </c:pt>
                <c:pt idx="4">
                  <c:v>5.9094740547486937E-2</c:v>
                </c:pt>
                <c:pt idx="5">
                  <c:v>4.0079460886340935E-2</c:v>
                </c:pt>
                <c:pt idx="6">
                  <c:v>3.9262205847856321E-2</c:v>
                </c:pt>
                <c:pt idx="7">
                  <c:v>3.7820378319310489E-2</c:v>
                </c:pt>
                <c:pt idx="8">
                  <c:v>3.744372733852501E-2</c:v>
                </c:pt>
                <c:pt idx="9">
                  <c:v>3.698378140619426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Sensitive 1 Handle + 3 Cartridges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Xtreme 3 Sensitive Disposable Razors 4 Pack (2.8%)</c:v>
                </c:pt>
                <c:pt idx="2">
                  <c:v>None Razors (12.2%)</c:v>
                </c:pt>
                <c:pt idx="3">
                  <c:v>Equate Speed 3 Disposable Razors 4 Pack (2.3%)</c:v>
                </c:pt>
                <c:pt idx="4">
                  <c:v>Gillette Mach 3 1 Handle + 2 Cartridges (2.7%)</c:v>
                </c:pt>
                <c:pt idx="5">
                  <c:v>Dollar Shave Club 6 1 Handle + 2 Blades (2.0%)</c:v>
                </c:pt>
                <c:pt idx="6">
                  <c:v>Schick Xtreme 2 Sensitive Disposable Razors 12 Pack (2.7%)</c:v>
                </c:pt>
                <c:pt idx="7">
                  <c:v>Equate Easy Fit 5 blades 1 Handle + 2 Cartridges (1.1%)</c:v>
                </c:pt>
                <c:pt idx="8">
                  <c:v>Bic Flex 4 Sensitive Skin Disposable Razors 3 Pack (1.7%)</c:v>
                </c:pt>
                <c:pt idx="9">
                  <c:v>Schick Hydro 3 Blade Ultra Sensitive 1 Handle + 4 Cartridges (0.1%)</c:v>
                </c:pt>
              </c:strCache>
            </c:strRef>
          </c:cat>
          <c:val>
            <c:numRef>
              <c:f>Sheet1!$B$2:$B$11</c:f>
              <c:numCache>
                <c:formatCode>General</c:formatCode>
                <c:ptCount val="10"/>
                <c:pt idx="0">
                  <c:v>0.10233737209703563</c:v>
                </c:pt>
                <c:pt idx="1">
                  <c:v>0.10141657354242685</c:v>
                </c:pt>
                <c:pt idx="2">
                  <c:v>9.0817694446061317E-2</c:v>
                </c:pt>
                <c:pt idx="3">
                  <c:v>6.985431407423208E-2</c:v>
                </c:pt>
                <c:pt idx="4">
                  <c:v>5.6692550083634163E-2</c:v>
                </c:pt>
                <c:pt idx="5">
                  <c:v>5.3497832235399431E-2</c:v>
                </c:pt>
                <c:pt idx="6">
                  <c:v>4.852081650596108E-2</c:v>
                </c:pt>
                <c:pt idx="7">
                  <c:v>4.7859403029397812E-2</c:v>
                </c:pt>
                <c:pt idx="8">
                  <c:v>4.2559650008863227E-2</c:v>
                </c:pt>
                <c:pt idx="9">
                  <c:v>3.88419956326429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3 Blade Pro Sensitive 1 Handle + 3 Cartridges</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4700000000000006</c:v>
                </c:pt>
                <c:pt idx="1">
                  <c:v>8.9700000000000006</c:v>
                </c:pt>
                <c:pt idx="2">
                  <c:v>9.9700000000000006</c:v>
                </c:pt>
                <c:pt idx="3">
                  <c:v>10.97</c:v>
                </c:pt>
                <c:pt idx="4">
                  <c:v>12.47</c:v>
                </c:pt>
              </c:numCache>
            </c:numRef>
          </c:xVal>
          <c:yVal>
            <c:numRef>
              <c:f>Sheet1!$B$2:$B$6</c:f>
              <c:numCache>
                <c:formatCode>General</c:formatCode>
                <c:ptCount val="5"/>
                <c:pt idx="0">
                  <c:v>0.1084594232421426</c:v>
                </c:pt>
                <c:pt idx="1">
                  <c:v>5.2367673637652913E-2</c:v>
                </c:pt>
                <c:pt idx="2">
                  <c:v>0</c:v>
                </c:pt>
                <c:pt idx="3">
                  <c:v>-0.16730907326892322</c:v>
                </c:pt>
                <c:pt idx="4">
                  <c:v>-0.2723374210093825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3 Blade Ingrown Defense 1 Handle + 3 Cartridges</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8.4700000000000006</c:v>
                </c:pt>
                <c:pt idx="1">
                  <c:v>8.9700000000000006</c:v>
                </c:pt>
                <c:pt idx="2">
                  <c:v>9.9700000000000006</c:v>
                </c:pt>
                <c:pt idx="3">
                  <c:v>10.97</c:v>
                </c:pt>
                <c:pt idx="4">
                  <c:v>12.47</c:v>
                </c:pt>
              </c:numCache>
            </c:numRef>
          </c:xVal>
          <c:yVal>
            <c:numRef>
              <c:f>Sheet1!$B$9:$B$13</c:f>
              <c:numCache>
                <c:formatCode>General</c:formatCode>
                <c:ptCount val="5"/>
                <c:pt idx="0">
                  <c:v>0.1026292743078875</c:v>
                </c:pt>
                <c:pt idx="1">
                  <c:v>5.1415086585608172E-2</c:v>
                </c:pt>
                <c:pt idx="2">
                  <c:v>0</c:v>
                </c:pt>
                <c:pt idx="3">
                  <c:v>-0.17396391242360668</c:v>
                </c:pt>
                <c:pt idx="4">
                  <c:v>-0.28438626009592671</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Hydro 5 Blade Advanced Hydration 1 Handle + 3 Cartridges</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8.4700000000000006</c:v>
                </c:pt>
                <c:pt idx="1">
                  <c:v>8.9700000000000006</c:v>
                </c:pt>
                <c:pt idx="2">
                  <c:v>9.9700000000000006</c:v>
                </c:pt>
                <c:pt idx="3">
                  <c:v>10.97</c:v>
                </c:pt>
                <c:pt idx="4">
                  <c:v>12.47</c:v>
                </c:pt>
              </c:numCache>
            </c:numRef>
          </c:xVal>
          <c:yVal>
            <c:numRef>
              <c:f>Sheet1!$B$16:$B$20</c:f>
              <c:numCache>
                <c:formatCode>General</c:formatCode>
                <c:ptCount val="5"/>
                <c:pt idx="0">
                  <c:v>9.0064404182862087E-2</c:v>
                </c:pt>
                <c:pt idx="1">
                  <c:v>4.6714124173679018E-2</c:v>
                </c:pt>
                <c:pt idx="2">
                  <c:v>0</c:v>
                </c:pt>
                <c:pt idx="3">
                  <c:v>-0.16234582668708791</c:v>
                </c:pt>
                <c:pt idx="4">
                  <c:v>-0.2558627976157633</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Schick Quattro Four Blade 1 Handle + 4 Cartriges</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8.4700000000000006</c:v>
                </c:pt>
                <c:pt idx="1">
                  <c:v>8.9700000000000006</c:v>
                </c:pt>
                <c:pt idx="2">
                  <c:v>9.9700000000000006</c:v>
                </c:pt>
                <c:pt idx="3">
                  <c:v>10.97</c:v>
                </c:pt>
                <c:pt idx="4">
                  <c:v>12.47</c:v>
                </c:pt>
              </c:numCache>
            </c:numRef>
          </c:xVal>
          <c:yVal>
            <c:numRef>
              <c:f>Sheet1!$B$23:$B$27</c:f>
              <c:numCache>
                <c:formatCode>General</c:formatCode>
                <c:ptCount val="5"/>
                <c:pt idx="0">
                  <c:v>0.10769438519193945</c:v>
                </c:pt>
                <c:pt idx="1">
                  <c:v>5.00723985263564E-2</c:v>
                </c:pt>
                <c:pt idx="2">
                  <c:v>0</c:v>
                </c:pt>
                <c:pt idx="3">
                  <c:v>-0.18608352587012483</c:v>
                </c:pt>
                <c:pt idx="4">
                  <c:v>-0.2943759185101156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2.47"/>
          <c:min val="8.4700000000000006"/>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B$2:$B$21</c:f>
              <c:numCache>
                <c:formatCode>General</c:formatCode>
                <c:ptCount val="20"/>
                <c:pt idx="0">
                  <c:v>109.64607714356373</c:v>
                </c:pt>
                <c:pt idx="1">
                  <c:v>107.36748895228421</c:v>
                </c:pt>
                <c:pt idx="2">
                  <c:v>105.23676736376527</c:v>
                </c:pt>
                <c:pt idx="3">
                  <c:v>104.13500201278919</c:v>
                </c:pt>
                <c:pt idx="4">
                  <c:v>103.06150265616547</c:v>
                </c:pt>
                <c:pt idx="5">
                  <c:v>102.01518440622583</c:v>
                </c:pt>
                <c:pt idx="6">
                  <c:v>100.99501259624286</c:v>
                </c:pt>
                <c:pt idx="7">
                  <c:v>100</c:v>
                </c:pt>
                <c:pt idx="8">
                  <c:v>95.586287305940289</c:v>
                </c:pt>
                <c:pt idx="9">
                  <c:v>91.81116912657231</c:v>
                </c:pt>
                <c:pt idx="10">
                  <c:v>88.563373271301103</c:v>
                </c:pt>
                <c:pt idx="11">
                  <c:v>85.743602392918589</c:v>
                </c:pt>
                <c:pt idx="12">
                  <c:v>83.269092673107608</c:v>
                </c:pt>
                <c:pt idx="13">
                  <c:v>81.611337458806105</c:v>
                </c:pt>
                <c:pt idx="14">
                  <c:v>80.046278695105997</c:v>
                </c:pt>
                <c:pt idx="15">
                  <c:v>78.565661517223901</c:v>
                </c:pt>
                <c:pt idx="16">
                  <c:v>77.162079414185001</c:v>
                </c:pt>
                <c:pt idx="17">
                  <c:v>75.828889190125665</c:v>
                </c:pt>
                <c:pt idx="18">
                  <c:v>74.560131545754288</c:v>
                </c:pt>
                <c:pt idx="19">
                  <c:v>73.35045834479629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C$2:$C$21</c:f>
              <c:numCache>
                <c:formatCode>General</c:formatCode>
                <c:ptCount val="20"/>
                <c:pt idx="0">
                  <c:v>94.378334430267131</c:v>
                </c:pt>
                <c:pt idx="1">
                  <c:v>94.55545400595588</c:v>
                </c:pt>
                <c:pt idx="2">
                  <c:v>94.774644108432554</c:v>
                </c:pt>
                <c:pt idx="3">
                  <c:v>95.853849748381464</c:v>
                </c:pt>
                <c:pt idx="4">
                  <c:v>96.915338006145831</c:v>
                </c:pt>
                <c:pt idx="5">
                  <c:v>97.959778130215781</c:v>
                </c:pt>
                <c:pt idx="6">
                  <c:v>98.98780070724051</c:v>
                </c:pt>
                <c:pt idx="7">
                  <c:v>100</c:v>
                </c:pt>
                <c:pt idx="8">
                  <c:v>97.493911206823228</c:v>
                </c:pt>
                <c:pt idx="9">
                  <c:v>95.475224564138088</c:v>
                </c:pt>
                <c:pt idx="10">
                  <c:v>93.864278385422026</c:v>
                </c:pt>
                <c:pt idx="11">
                  <c:v>92.58547521050518</c:v>
                </c:pt>
                <c:pt idx="12">
                  <c:v>91.573478520686436</c:v>
                </c:pt>
                <c:pt idx="13">
                  <c:v>91.37466152325328</c:v>
                </c:pt>
                <c:pt idx="14">
                  <c:v>91.215403892549986</c:v>
                </c:pt>
                <c:pt idx="15">
                  <c:v>91.091668818360773</c:v>
                </c:pt>
                <c:pt idx="16">
                  <c:v>90.999763983803263</c:v>
                </c:pt>
                <c:pt idx="17">
                  <c:v>90.93632373471344</c:v>
                </c:pt>
                <c:pt idx="18">
                  <c:v>90.898288000671812</c:v>
                </c:pt>
                <c:pt idx="19">
                  <c:v>90.882880058582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D$2:$D$21</c:f>
              <c:numCache>
                <c:formatCode>General</c:formatCode>
                <c:ptCount val="20"/>
                <c:pt idx="0">
                  <c:v>84.54289091176652</c:v>
                </c:pt>
                <c:pt idx="1">
                  <c:v>86.297623795811433</c:v>
                </c:pt>
                <c:pt idx="2">
                  <c:v>88.02699154696721</c:v>
                </c:pt>
                <c:pt idx="3">
                  <c:v>90.51132212055424</c:v>
                </c:pt>
                <c:pt idx="4">
                  <c:v>92.949074839427084</c:v>
                </c:pt>
                <c:pt idx="5">
                  <c:v>95.342009250733653</c:v>
                </c:pt>
                <c:pt idx="6">
                  <c:v>97.691791547295168</c:v>
                </c:pt>
                <c:pt idx="7">
                  <c:v>100</c:v>
                </c:pt>
                <c:pt idx="8">
                  <c:v>98.71260639935953</c:v>
                </c:pt>
                <c:pt idx="9">
                  <c:v>97.816863439415584</c:v>
                </c:pt>
                <c:pt idx="10">
                  <c:v>97.253239965761878</c:v>
                </c:pt>
                <c:pt idx="11">
                  <c:v>96.961188883815581</c:v>
                </c:pt>
                <c:pt idx="12">
                  <c:v>96.886409636283233</c:v>
                </c:pt>
                <c:pt idx="13">
                  <c:v>97.626798864079646</c:v>
                </c:pt>
                <c:pt idx="14">
                  <c:v>98.37266750530101</c:v>
                </c:pt>
                <c:pt idx="15">
                  <c:v>99.122696180763512</c:v>
                </c:pt>
                <c:pt idx="16">
                  <c:v>99.875583627352142</c:v>
                </c:pt>
                <c:pt idx="17">
                  <c:v>100.6300725804893</c:v>
                </c:pt>
                <c:pt idx="18">
                  <c:v>101.38496661070403</c:v>
                </c:pt>
                <c:pt idx="19">
                  <c:v>102.1391406837707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E$2:$E$21</c:f>
              <c:numCache>
                <c:formatCode>General</c:formatCode>
                <c:ptCount val="20"/>
                <c:pt idx="0">
                  <c:v>0.55016816924073564</c:v>
                </c:pt>
                <c:pt idx="1">
                  <c:v>0.56042659183501764</c:v>
                </c:pt>
                <c:pt idx="2">
                  <c:v>0.57022755968707983</c:v>
                </c:pt>
                <c:pt idx="3">
                  <c:v>0.5796010044049188</c:v>
                </c:pt>
                <c:pt idx="4">
                  <c:v>0.58857430206970174</c:v>
                </c:pt>
                <c:pt idx="5">
                  <c:v>0.59717254027096189</c:v>
                </c:pt>
                <c:pt idx="6">
                  <c:v>0.6054187523432043</c:v>
                </c:pt>
                <c:pt idx="7">
                  <c:v>0.61333412340953919</c:v>
                </c:pt>
                <c:pt idx="8">
                  <c:v>0.62093817211338309</c:v>
                </c:pt>
                <c:pt idx="9">
                  <c:v>0.62824891132045368</c:v>
                </c:pt>
                <c:pt idx="10">
                  <c:v>0.63528299057645277</c:v>
                </c:pt>
                <c:pt idx="11">
                  <c:v>0.64205582269202455</c:v>
                </c:pt>
                <c:pt idx="12">
                  <c:v>0.64858169648068409</c:v>
                </c:pt>
                <c:pt idx="13">
                  <c:v>0.65487387738523783</c:v>
                </c:pt>
                <c:pt idx="14">
                  <c:v>0.66094469748400231</c:v>
                </c:pt>
                <c:pt idx="15">
                  <c:v>0.66680563616189314</c:v>
                </c:pt>
                <c:pt idx="16">
                  <c:v>0.67246739255676347</c:v>
                </c:pt>
                <c:pt idx="17">
                  <c:v>0.67793995074294955</c:v>
                </c:pt>
                <c:pt idx="18">
                  <c:v>0.68323263848751892</c:v>
                </c:pt>
                <c:pt idx="19">
                  <c:v>0.6883541803066374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3 Blade Pro Sensitive 1 Handle + 3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Schick Xtreme 3 Sensitive Disposable Razors 4 Pack (2.8%)</c:v>
                </c:pt>
                <c:pt idx="2">
                  <c:v>None Blades (83.2%)</c:v>
                </c:pt>
                <c:pt idx="3">
                  <c:v>Schick Xtreme 2 Sensitive Disposable Razors 12 Pack (2.7%)</c:v>
                </c:pt>
                <c:pt idx="4">
                  <c:v>Equate Speed 3 Disposable Razors 4 Pack (2.3%)</c:v>
                </c:pt>
                <c:pt idx="5">
                  <c:v>Gillette Mach 3 Sensitive Skin Disposable Razors 3 Pack (2.4%)</c:v>
                </c:pt>
                <c:pt idx="6">
                  <c:v>Gillette Mach 3 1 Handle + 2 Cartridges (2.7%)</c:v>
                </c:pt>
                <c:pt idx="7">
                  <c:v>None Razors (12.2%)</c:v>
                </c:pt>
                <c:pt idx="8">
                  <c:v>Schick Xtreme 3 Sensitive Disposable Razors 8 Pack (1.7%)</c:v>
                </c:pt>
                <c:pt idx="9">
                  <c:v>Equate 2 Blade Disposable Razors 5 Pack (5.5%)</c:v>
                </c:pt>
              </c:strCache>
            </c:strRef>
          </c:cat>
          <c:val>
            <c:numRef>
              <c:f>Sheet1!$B$2:$B$11</c:f>
              <c:numCache>
                <c:formatCode>General</c:formatCode>
                <c:ptCount val="10"/>
                <c:pt idx="0">
                  <c:v>0.15480497243424765</c:v>
                </c:pt>
                <c:pt idx="1">
                  <c:v>0.12073027164464352</c:v>
                </c:pt>
                <c:pt idx="2">
                  <c:v>7.5574548032354041E-2</c:v>
                </c:pt>
                <c:pt idx="3">
                  <c:v>6.2388739634838174E-2</c:v>
                </c:pt>
                <c:pt idx="4">
                  <c:v>5.2846525834168934E-2</c:v>
                </c:pt>
                <c:pt idx="5">
                  <c:v>5.037021184168055E-2</c:v>
                </c:pt>
                <c:pt idx="6">
                  <c:v>4.235072115674695E-2</c:v>
                </c:pt>
                <c:pt idx="7">
                  <c:v>4.0949436677709651E-2</c:v>
                </c:pt>
                <c:pt idx="8">
                  <c:v>3.8676472206212759E-2</c:v>
                </c:pt>
                <c:pt idx="9">
                  <c:v>3.269417966910308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3 Blade Pro Sensitive 1 Handle + 3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Schick Xtreme 3 Sensitive Disposable Razors 4 Pack (2.8%)</c:v>
                </c:pt>
                <c:pt idx="2">
                  <c:v>None Blades (83.2%)</c:v>
                </c:pt>
                <c:pt idx="3">
                  <c:v>Gillette Mach 3 1 Handle + 2 Cartridges (2.7%)</c:v>
                </c:pt>
                <c:pt idx="4">
                  <c:v>Gillette Mach 3 Sensitive Skin Disposable Razors 3 Pack (2.4%)</c:v>
                </c:pt>
                <c:pt idx="5">
                  <c:v>Schick Xtreme 2 Sensitive Disposable Razors 12 Pack (2.7%)</c:v>
                </c:pt>
                <c:pt idx="6">
                  <c:v>Equate Speed 3 Disposable Razors 4 Pack (2.3%)</c:v>
                </c:pt>
                <c:pt idx="7">
                  <c:v>None Razors (12.2%)</c:v>
                </c:pt>
                <c:pt idx="8">
                  <c:v>Schick Xtreme 3 Sensitive Disposable Razors 8 Pack (1.7%)</c:v>
                </c:pt>
                <c:pt idx="9">
                  <c:v>Dollar Shave Club 6 1 Handle + 2 Blades (2.0%)</c:v>
                </c:pt>
              </c:strCache>
            </c:strRef>
          </c:cat>
          <c:val>
            <c:numRef>
              <c:f>Sheet1!$B$2:$B$11</c:f>
              <c:numCache>
                <c:formatCode>General</c:formatCode>
                <c:ptCount val="10"/>
                <c:pt idx="0">
                  <c:v>0.20164216383255631</c:v>
                </c:pt>
                <c:pt idx="1">
                  <c:v>0.10018659481561959</c:v>
                </c:pt>
                <c:pt idx="2">
                  <c:v>7.681050930076376E-2</c:v>
                </c:pt>
                <c:pt idx="3">
                  <c:v>5.4310619609795364E-2</c:v>
                </c:pt>
                <c:pt idx="4">
                  <c:v>5.0796715650672591E-2</c:v>
                </c:pt>
                <c:pt idx="5">
                  <c:v>5.0199775734776131E-2</c:v>
                </c:pt>
                <c:pt idx="6">
                  <c:v>4.883316595762259E-2</c:v>
                </c:pt>
                <c:pt idx="7">
                  <c:v>4.1437024766756259E-2</c:v>
                </c:pt>
                <c:pt idx="8">
                  <c:v>3.6837218727895374E-2</c:v>
                </c:pt>
                <c:pt idx="9">
                  <c:v>3.555669375079703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B$2:$B$21</c:f>
              <c:numCache>
                <c:formatCode>General</c:formatCode>
                <c:ptCount val="20"/>
                <c:pt idx="0">
                  <c:v>109.16936575168714</c:v>
                </c:pt>
                <c:pt idx="1">
                  <c:v>107.08980967699905</c:v>
                </c:pt>
                <c:pt idx="2">
                  <c:v>105.14150865856082</c:v>
                </c:pt>
                <c:pt idx="3">
                  <c:v>104.06128068082054</c:v>
                </c:pt>
                <c:pt idx="4">
                  <c:v>103.00803138964876</c:v>
                </c:pt>
                <c:pt idx="5">
                  <c:v>101.98072143394432</c:v>
                </c:pt>
                <c:pt idx="6">
                  <c:v>100.97835952611425</c:v>
                </c:pt>
                <c:pt idx="7">
                  <c:v>100</c:v>
                </c:pt>
                <c:pt idx="8">
                  <c:v>95.464883805438902</c:v>
                </c:pt>
                <c:pt idx="9">
                  <c:v>91.556895559193663</c:v>
                </c:pt>
                <c:pt idx="10">
                  <c:v>88.170412052540186</c:v>
                </c:pt>
                <c:pt idx="11">
                  <c:v>85.212085192389793</c:v>
                </c:pt>
                <c:pt idx="12">
                  <c:v>82.603608757639336</c:v>
                </c:pt>
                <c:pt idx="13">
                  <c:v>80.868683850632976</c:v>
                </c:pt>
                <c:pt idx="14">
                  <c:v>79.227439341968903</c:v>
                </c:pt>
                <c:pt idx="15">
                  <c:v>77.672040008582144</c:v>
                </c:pt>
                <c:pt idx="16">
                  <c:v>76.195425048816048</c:v>
                </c:pt>
                <c:pt idx="17">
                  <c:v>74.791233606031724</c:v>
                </c:pt>
                <c:pt idx="18">
                  <c:v>73.453734686627996</c:v>
                </c:pt>
                <c:pt idx="19">
                  <c:v>72.17776230773108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C$2:$C$21</c:f>
              <c:numCache>
                <c:formatCode>General</c:formatCode>
                <c:ptCount val="20"/>
                <c:pt idx="0">
                  <c:v>93.96963253117157</c:v>
                </c:pt>
                <c:pt idx="1">
                  <c:v>94.312412414579327</c:v>
                </c:pt>
                <c:pt idx="2">
                  <c:v>94.690193173068948</c:v>
                </c:pt>
                <c:pt idx="3">
                  <c:v>95.787071125298127</c:v>
                </c:pt>
                <c:pt idx="4">
                  <c:v>96.865872717920766</c:v>
                </c:pt>
                <c:pt idx="5">
                  <c:v>97.927234329490872</c:v>
                </c:pt>
                <c:pt idx="6">
                  <c:v>98.971755222256334</c:v>
                </c:pt>
                <c:pt idx="7">
                  <c:v>100</c:v>
                </c:pt>
                <c:pt idx="8">
                  <c:v>97.37044109579854</c:v>
                </c:pt>
                <c:pt idx="9">
                  <c:v>95.211549019392578</c:v>
                </c:pt>
                <c:pt idx="10">
                  <c:v>93.448970012347161</c:v>
                </c:pt>
                <c:pt idx="11">
                  <c:v>92.013179290889681</c:v>
                </c:pt>
                <c:pt idx="12">
                  <c:v>90.843743528980056</c:v>
                </c:pt>
                <c:pt idx="13">
                  <c:v>90.545519968979548</c:v>
                </c:pt>
                <c:pt idx="14">
                  <c:v>90.284937804387397</c:v>
                </c:pt>
                <c:pt idx="15">
                  <c:v>90.058502673830787</c:v>
                </c:pt>
                <c:pt idx="16">
                  <c:v>89.863011100293676</c:v>
                </c:pt>
                <c:pt idx="17">
                  <c:v>89.695537959980726</c:v>
                </c:pt>
                <c:pt idx="18">
                  <c:v>89.553420465828665</c:v>
                </c:pt>
                <c:pt idx="19">
                  <c:v>89.43424030456932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D$2:$D$21</c:f>
              <c:numCache>
                <c:formatCode>General</c:formatCode>
                <c:ptCount val="20"/>
                <c:pt idx="0">
                  <c:v>81.346913130786831</c:v>
                </c:pt>
                <c:pt idx="1">
                  <c:v>83.696267761089842</c:v>
                </c:pt>
                <c:pt idx="2">
                  <c:v>86.00155891820863</c:v>
                </c:pt>
                <c:pt idx="3">
                  <c:v>88.906636563125176</c:v>
                </c:pt>
                <c:pt idx="4">
                  <c:v>91.757088338871242</c:v>
                </c:pt>
                <c:pt idx="5">
                  <c:v>94.55489729413965</c:v>
                </c:pt>
                <c:pt idx="6">
                  <c:v>97.30194142853982</c:v>
                </c:pt>
                <c:pt idx="7">
                  <c:v>100</c:v>
                </c:pt>
                <c:pt idx="8">
                  <c:v>98.940567389052489</c:v>
                </c:pt>
                <c:pt idx="9">
                  <c:v>98.22369881032985</c:v>
                </c:pt>
                <c:pt idx="10">
                  <c:v>97.800731857549067</c:v>
                </c:pt>
                <c:pt idx="11">
                  <c:v>97.621684778025212</c:v>
                </c:pt>
                <c:pt idx="12">
                  <c:v>97.640761449895322</c:v>
                </c:pt>
                <c:pt idx="13">
                  <c:v>98.534276413083006</c:v>
                </c:pt>
                <c:pt idx="14">
                  <c:v>99.419016550368255</c:v>
                </c:pt>
                <c:pt idx="15">
                  <c:v>100.29509666374396</c:v>
                </c:pt>
                <c:pt idx="16">
                  <c:v>101.1625186741048</c:v>
                </c:pt>
                <c:pt idx="17">
                  <c:v>102.02121100510202</c:v>
                </c:pt>
                <c:pt idx="18">
                  <c:v>102.87105785210886</c:v>
                </c:pt>
                <c:pt idx="19">
                  <c:v>103.7119206564145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E$2:$E$21</c:f>
              <c:numCache>
                <c:formatCode>General</c:formatCode>
                <c:ptCount val="20"/>
                <c:pt idx="0">
                  <c:v>0.47763141057261504</c:v>
                </c:pt>
                <c:pt idx="1">
                  <c:v>0.4895440351889751</c:v>
                </c:pt>
                <c:pt idx="2">
                  <c:v>0.50092543908665688</c:v>
                </c:pt>
                <c:pt idx="3">
                  <c:v>0.51181038043700233</c:v>
                </c:pt>
                <c:pt idx="4">
                  <c:v>0.52223064979800549</c:v>
                </c:pt>
                <c:pt idx="5">
                  <c:v>0.53221538020975045</c:v>
                </c:pt>
                <c:pt idx="6">
                  <c:v>0.5417913192023861</c:v>
                </c:pt>
                <c:pt idx="7">
                  <c:v>0.55098306806492603</c:v>
                </c:pt>
                <c:pt idx="8">
                  <c:v>0.55981329288174153</c:v>
                </c:pt>
                <c:pt idx="9">
                  <c:v>0.56830291114824605</c:v>
                </c:pt>
                <c:pt idx="10">
                  <c:v>0.57647125720031323</c:v>
                </c:pt>
                <c:pt idx="11">
                  <c:v>0.58433622921144956</c:v>
                </c:pt>
                <c:pt idx="12">
                  <c:v>0.59191442011005579</c:v>
                </c:pt>
                <c:pt idx="13">
                  <c:v>0.59922123443216757</c:v>
                </c:pt>
                <c:pt idx="14">
                  <c:v>0.60627099284145236</c:v>
                </c:pt>
                <c:pt idx="15">
                  <c:v>0.61307702580875634</c:v>
                </c:pt>
                <c:pt idx="16">
                  <c:v>0.61965175774063819</c:v>
                </c:pt>
                <c:pt idx="17">
                  <c:v>0.62600678267396082</c:v>
                </c:pt>
                <c:pt idx="18">
                  <c:v>0.63215293250676352</c:v>
                </c:pt>
                <c:pt idx="19">
                  <c:v>0.638100338610130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3 Blade Ingrown Defense 1 Handle + 3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Schick Xtreme 3 Sensitive Disposable Razors 4 Pack (2.8%)</c:v>
                </c:pt>
                <c:pt idx="2">
                  <c:v>Dollar Shave Club 6 1 Handle + 2 Blades (2.0%)</c:v>
                </c:pt>
                <c:pt idx="3">
                  <c:v>None Razors (12.2%)</c:v>
                </c:pt>
                <c:pt idx="4">
                  <c:v>Schick Xtreme 2 Sensitive Disposable Razors 12 Pack (2.7%)</c:v>
                </c:pt>
                <c:pt idx="5">
                  <c:v>Gillette Mach 3 1 Handle + 2 Cartridges (2.7%)</c:v>
                </c:pt>
                <c:pt idx="6">
                  <c:v>None Blades (83.2%)</c:v>
                </c:pt>
                <c:pt idx="7">
                  <c:v>Equate Speed 3 Disposable Razors 4 Pack (2.3%)</c:v>
                </c:pt>
                <c:pt idx="8">
                  <c:v>Equate 2 Blade Disposable Razors 5 Pack (5.5%)</c:v>
                </c:pt>
                <c:pt idx="9">
                  <c:v>Equate 2 Blade Disposable Razors 12 Pack (5.7%)</c:v>
                </c:pt>
              </c:strCache>
            </c:strRef>
          </c:cat>
          <c:val>
            <c:numRef>
              <c:f>Sheet1!$B$2:$B$11</c:f>
              <c:numCache>
                <c:formatCode>General</c:formatCode>
                <c:ptCount val="10"/>
                <c:pt idx="0">
                  <c:v>0.14205900940606278</c:v>
                </c:pt>
                <c:pt idx="1">
                  <c:v>9.3530094398688757E-2</c:v>
                </c:pt>
                <c:pt idx="2">
                  <c:v>6.3550386388035771E-2</c:v>
                </c:pt>
                <c:pt idx="3">
                  <c:v>6.1364515496855794E-2</c:v>
                </c:pt>
                <c:pt idx="4">
                  <c:v>6.0696724893407439E-2</c:v>
                </c:pt>
                <c:pt idx="5">
                  <c:v>5.0764375529620286E-2</c:v>
                </c:pt>
                <c:pt idx="6">
                  <c:v>4.8579446603115022E-2</c:v>
                </c:pt>
                <c:pt idx="7">
                  <c:v>4.2685749097065774E-2</c:v>
                </c:pt>
                <c:pt idx="8">
                  <c:v>3.9824052346557351E-2</c:v>
                </c:pt>
                <c:pt idx="9">
                  <c:v>3.35667346831100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3 Blade Ingrown Defense 1 Handle + 3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Schick Xtreme 3 Sensitive Disposable Razors 4 Pack (2.8%)</c:v>
                </c:pt>
                <c:pt idx="2">
                  <c:v>Dollar Shave Club 6 1 Handle + 2 Blades (2.0%)</c:v>
                </c:pt>
                <c:pt idx="3">
                  <c:v>None Razors (12.2%)</c:v>
                </c:pt>
                <c:pt idx="4">
                  <c:v>Gillette Mach 3 1 Handle + 2 Cartridges (2.7%)</c:v>
                </c:pt>
                <c:pt idx="5">
                  <c:v>Schick Xtreme 2 Sensitive Disposable Razors 12 Pack (2.7%)</c:v>
                </c:pt>
                <c:pt idx="6">
                  <c:v>None Blades (83.2%)</c:v>
                </c:pt>
                <c:pt idx="7">
                  <c:v>Equate Speed 3 Disposable Razors 4 Pack (2.3%)</c:v>
                </c:pt>
                <c:pt idx="8">
                  <c:v>Equate 2 Blade Disposable Razors 5 Pack (5.5%)</c:v>
                </c:pt>
                <c:pt idx="9">
                  <c:v>Gillette Mach 3 Sensitive Skin Disposable Razors 3 Pack (2.4%)</c:v>
                </c:pt>
              </c:strCache>
            </c:strRef>
          </c:cat>
          <c:val>
            <c:numRef>
              <c:f>Sheet1!$B$2:$B$11</c:f>
              <c:numCache>
                <c:formatCode>General</c:formatCode>
                <c:ptCount val="10"/>
                <c:pt idx="0">
                  <c:v>0.19407888434779982</c:v>
                </c:pt>
                <c:pt idx="1">
                  <c:v>7.7618298148416642E-2</c:v>
                </c:pt>
                <c:pt idx="2">
                  <c:v>7.1523973814462433E-2</c:v>
                </c:pt>
                <c:pt idx="3">
                  <c:v>6.7508099202340396E-2</c:v>
                </c:pt>
                <c:pt idx="4">
                  <c:v>6.2801636221254592E-2</c:v>
                </c:pt>
                <c:pt idx="5">
                  <c:v>4.4377035126314031E-2</c:v>
                </c:pt>
                <c:pt idx="6">
                  <c:v>4.2521675182287506E-2</c:v>
                </c:pt>
                <c:pt idx="7">
                  <c:v>3.6849312365413424E-2</c:v>
                </c:pt>
                <c:pt idx="8">
                  <c:v>3.3226075458678506E-2</c:v>
                </c:pt>
                <c:pt idx="9">
                  <c:v>3.14669887071683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B$2:$B$21</c:f>
              <c:numCache>
                <c:formatCode>General</c:formatCode>
                <c:ptCount val="20"/>
                <c:pt idx="0">
                  <c:v>108.08828653903211</c:v>
                </c:pt>
                <c:pt idx="1">
                  <c:v>106.33114046680276</c:v>
                </c:pt>
                <c:pt idx="2">
                  <c:v>104.6714124173679</c:v>
                </c:pt>
                <c:pt idx="3">
                  <c:v>103.69327079665463</c:v>
                </c:pt>
                <c:pt idx="4">
                  <c:v>102.73780981523284</c:v>
                </c:pt>
                <c:pt idx="5">
                  <c:v>101.80426579388006</c:v>
                </c:pt>
                <c:pt idx="6">
                  <c:v>100.89190042112624</c:v>
                </c:pt>
                <c:pt idx="7">
                  <c:v>100</c:v>
                </c:pt>
                <c:pt idx="8">
                  <c:v>95.87445356741577</c:v>
                </c:pt>
                <c:pt idx="9">
                  <c:v>92.245784843997143</c:v>
                </c:pt>
                <c:pt idx="10">
                  <c:v>89.058182923700699</c:v>
                </c:pt>
                <c:pt idx="11">
                  <c:v>86.251087150139128</c:v>
                </c:pt>
                <c:pt idx="12">
                  <c:v>83.765417331291189</c:v>
                </c:pt>
                <c:pt idx="13">
                  <c:v>82.308794690882607</c:v>
                </c:pt>
                <c:pt idx="14">
                  <c:v>80.926750507889423</c:v>
                </c:pt>
                <c:pt idx="15">
                  <c:v>79.613223362535351</c:v>
                </c:pt>
                <c:pt idx="16">
                  <c:v>78.362692697554934</c:v>
                </c:pt>
                <c:pt idx="17">
                  <c:v>77.170146439557129</c:v>
                </c:pt>
                <c:pt idx="18">
                  <c:v>76.031044044539541</c:v>
                </c:pt>
                <c:pt idx="19">
                  <c:v>74.94127756930333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C$2:$C$21</c:f>
              <c:numCache>
                <c:formatCode>General</c:formatCode>
                <c:ptCount val="20"/>
                <c:pt idx="0">
                  <c:v>93.057600311400492</c:v>
                </c:pt>
                <c:pt idx="1">
                  <c:v>93.659896862001446</c:v>
                </c:pt>
                <c:pt idx="2">
                  <c:v>94.279572185523406</c:v>
                </c:pt>
                <c:pt idx="3">
                  <c:v>95.458611302007739</c:v>
                </c:pt>
                <c:pt idx="4">
                  <c:v>96.619546369355035</c:v>
                </c:pt>
                <c:pt idx="5">
                  <c:v>97.763023208809997</c:v>
                </c:pt>
                <c:pt idx="6">
                  <c:v>98.889650165732917</c:v>
                </c:pt>
                <c:pt idx="7">
                  <c:v>100</c:v>
                </c:pt>
                <c:pt idx="8">
                  <c:v>97.78451289833049</c:v>
                </c:pt>
                <c:pt idx="9">
                  <c:v>95.921087199317867</c:v>
                </c:pt>
                <c:pt idx="10">
                  <c:v>94.380250945676451</c:v>
                </c:pt>
                <c:pt idx="11">
                  <c:v>93.122970775278631</c:v>
                </c:pt>
                <c:pt idx="12">
                  <c:v>92.107028802955469</c:v>
                </c:pt>
                <c:pt idx="13">
                  <c:v>92.140965140201487</c:v>
                </c:pt>
                <c:pt idx="14">
                  <c:v>92.201853329269184</c:v>
                </c:pt>
                <c:pt idx="15">
                  <c:v>92.28711359662914</c:v>
                </c:pt>
                <c:pt idx="16">
                  <c:v>92.394323025146889</c:v>
                </c:pt>
                <c:pt idx="17">
                  <c:v>92.521230277664301</c:v>
                </c:pt>
                <c:pt idx="18">
                  <c:v>92.665760908232386</c:v>
                </c:pt>
                <c:pt idx="19">
                  <c:v>92.82601584737629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D$2:$D$21</c:f>
              <c:numCache>
                <c:formatCode>General</c:formatCode>
                <c:ptCount val="20"/>
                <c:pt idx="0">
                  <c:v>80.143712391337687</c:v>
                </c:pt>
                <c:pt idx="1">
                  <c:v>82.768033987885019</c:v>
                </c:pt>
                <c:pt idx="2">
                  <c:v>85.341988433782944</c:v>
                </c:pt>
                <c:pt idx="3">
                  <c:v>88.374236503079672</c:v>
                </c:pt>
                <c:pt idx="4">
                  <c:v>91.354399736776458</c:v>
                </c:pt>
                <c:pt idx="5">
                  <c:v>94.284283894635237</c:v>
                </c:pt>
                <c:pt idx="6">
                  <c:v>97.165606345770897</c:v>
                </c:pt>
                <c:pt idx="7">
                  <c:v>100</c:v>
                </c:pt>
                <c:pt idx="8">
                  <c:v>99.415435616668319</c:v>
                </c:pt>
                <c:pt idx="9">
                  <c:v>99.059709848996121</c:v>
                </c:pt>
                <c:pt idx="10">
                  <c:v>98.925882253537395</c:v>
                </c:pt>
                <c:pt idx="11">
                  <c:v>98.993315761117813</c:v>
                </c:pt>
                <c:pt idx="12">
                  <c:v>99.234180285423264</c:v>
                </c:pt>
                <c:pt idx="13">
                  <c:v>100.54852093606608</c:v>
                </c:pt>
                <c:pt idx="14">
                  <c:v>101.84912473095591</c:v>
                </c:pt>
                <c:pt idx="15">
                  <c:v>103.13640263044321</c:v>
                </c:pt>
                <c:pt idx="16">
                  <c:v>104.41059076252021</c:v>
                </c:pt>
                <c:pt idx="17">
                  <c:v>105.67180596542065</c:v>
                </c:pt>
                <c:pt idx="18">
                  <c:v>106.92008772020193</c:v>
                </c:pt>
                <c:pt idx="19">
                  <c:v>108.1554290451436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E$2:$E$21</c:f>
              <c:numCache>
                <c:formatCode>General</c:formatCode>
                <c:ptCount val="20"/>
                <c:pt idx="0">
                  <c:v>0.46851033316925361</c:v>
                </c:pt>
                <c:pt idx="1">
                  <c:v>0.48063096411180184</c:v>
                </c:pt>
                <c:pt idx="2">
                  <c:v>0.49221109869124902</c:v>
                </c:pt>
                <c:pt idx="3">
                  <c:v>0.50328610199133073</c:v>
                </c:pt>
                <c:pt idx="4">
                  <c:v>0.51388831966494164</c:v>
                </c:pt>
                <c:pt idx="5">
                  <c:v>0.52404739344414863</c:v>
                </c:pt>
                <c:pt idx="6">
                  <c:v>0.53379053789769748</c:v>
                </c:pt>
                <c:pt idx="7">
                  <c:v>0.54314278387768344</c:v>
                </c:pt>
                <c:pt idx="8">
                  <c:v>0.55212719324095405</c:v>
                </c:pt>
                <c:pt idx="9">
                  <c:v>0.56076504872328869</c:v>
                </c:pt>
                <c:pt idx="10">
                  <c:v>0.56907602225737963</c:v>
                </c:pt>
                <c:pt idx="11">
                  <c:v>0.5770783245367227</c:v>
                </c:pt>
                <c:pt idx="12">
                  <c:v>0.58478883821882433</c:v>
                </c:pt>
                <c:pt idx="13">
                  <c:v>0.59222323681830824</c:v>
                </c:pt>
                <c:pt idx="14">
                  <c:v>0.59939609105193514</c:v>
                </c:pt>
                <c:pt idx="15">
                  <c:v>0.60632096415388959</c:v>
                </c:pt>
                <c:pt idx="16">
                  <c:v>0.61301049747327985</c:v>
                </c:pt>
                <c:pt idx="17">
                  <c:v>0.61947648749043471</c:v>
                </c:pt>
                <c:pt idx="18">
                  <c:v>0.62572995523915398</c:v>
                </c:pt>
                <c:pt idx="19">
                  <c:v>0.6317812089943817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Equate (2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 (38.7%)</c:v>
                </c:pt>
                <c:pt idx="1">
                  <c:v>Bic (16.9%)</c:v>
                </c:pt>
                <c:pt idx="2">
                  <c:v>Schick (11.2%)</c:v>
                </c:pt>
                <c:pt idx="3">
                  <c:v>Harrys (11.2%)</c:v>
                </c:pt>
                <c:pt idx="4">
                  <c:v>Dollar Shave Club (2.9%)</c:v>
                </c:pt>
                <c:pt idx="5">
                  <c:v>Van Der Hagen (2.0%)</c:v>
                </c:pt>
              </c:strCache>
            </c:strRef>
          </c:cat>
          <c:val>
            <c:numRef>
              <c:f>Sheet1!$B$2:$B$7</c:f>
              <c:numCache>
                <c:formatCode>General</c:formatCode>
                <c:ptCount val="6"/>
                <c:pt idx="0">
                  <c:v>0.29405320201068214</c:v>
                </c:pt>
                <c:pt idx="1">
                  <c:v>0.28252852463409001</c:v>
                </c:pt>
                <c:pt idx="2">
                  <c:v>0.20498558569867995</c:v>
                </c:pt>
                <c:pt idx="3">
                  <c:v>4.4786960851660819E-2</c:v>
                </c:pt>
                <c:pt idx="4">
                  <c:v>3.6821365271551401E-2</c:v>
                </c:pt>
                <c:pt idx="5">
                  <c:v>7.2801730858128794E-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Advanced Hydration 1 Handle + 3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Schick Xtreme 3 Sensitive Disposable Razors 4 Pack (2.8%)</c:v>
                </c:pt>
                <c:pt idx="2">
                  <c:v>None Blades (83.2%)</c:v>
                </c:pt>
                <c:pt idx="3">
                  <c:v>None Razors (12.2%)</c:v>
                </c:pt>
                <c:pt idx="4">
                  <c:v>Schick Xtreme 2 Sensitive Disposable Razors 12 Pack (2.7%)</c:v>
                </c:pt>
                <c:pt idx="5">
                  <c:v>Dollar Shave Club 6 1 Handle + 2 Blades (2.0%)</c:v>
                </c:pt>
                <c:pt idx="6">
                  <c:v>Equate Speed 3 Disposable Razors 4 Pack (2.3%)</c:v>
                </c:pt>
                <c:pt idx="7">
                  <c:v>Gillette Mach 3 1 Handle + 2 Cartridges (2.7%)</c:v>
                </c:pt>
                <c:pt idx="8">
                  <c:v>Gillette Sensor 3 Sensitive Disposable Razors 4 Pack (2.3%)</c:v>
                </c:pt>
                <c:pt idx="9">
                  <c:v>Harry's 5 Blade 1 Handle + 2 Cartridges (3.9%)</c:v>
                </c:pt>
              </c:strCache>
            </c:strRef>
          </c:cat>
          <c:val>
            <c:numRef>
              <c:f>Sheet1!$B$2:$B$11</c:f>
              <c:numCache>
                <c:formatCode>General</c:formatCode>
                <c:ptCount val="10"/>
                <c:pt idx="0">
                  <c:v>0.19453540027573021</c:v>
                </c:pt>
                <c:pt idx="1">
                  <c:v>9.8780943355892964E-2</c:v>
                </c:pt>
                <c:pt idx="2">
                  <c:v>7.2076935793093558E-2</c:v>
                </c:pt>
                <c:pt idx="3">
                  <c:v>6.4328245917834884E-2</c:v>
                </c:pt>
                <c:pt idx="4">
                  <c:v>6.3038070855747932E-2</c:v>
                </c:pt>
                <c:pt idx="5">
                  <c:v>4.1790785445104679E-2</c:v>
                </c:pt>
                <c:pt idx="6">
                  <c:v>3.7791159791121763E-2</c:v>
                </c:pt>
                <c:pt idx="7">
                  <c:v>3.5290939520315465E-2</c:v>
                </c:pt>
                <c:pt idx="8">
                  <c:v>3.4340280114103873E-2</c:v>
                </c:pt>
                <c:pt idx="9">
                  <c:v>3.11013132507613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Advanced Hydration 1 Handle + 3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Schick Xtreme 3 Sensitive Disposable Razors 4 Pack (2.8%)</c:v>
                </c:pt>
                <c:pt idx="2">
                  <c:v>None Razors (12.2%)</c:v>
                </c:pt>
                <c:pt idx="3">
                  <c:v>None Blades (83.2%)</c:v>
                </c:pt>
                <c:pt idx="4">
                  <c:v>Dollar Shave Club 6 1 Handle + 2 Blades (2.0%)</c:v>
                </c:pt>
                <c:pt idx="5">
                  <c:v>Schick Xtreme 2 Sensitive Disposable Razors 12 Pack (2.7%)</c:v>
                </c:pt>
                <c:pt idx="6">
                  <c:v>Gillette Mach 3 1 Handle + 2 Cartridges (2.7%)</c:v>
                </c:pt>
                <c:pt idx="7">
                  <c:v>Equate Speed 3 Disposable Razors 4 Pack (2.3%)</c:v>
                </c:pt>
                <c:pt idx="8">
                  <c:v>Equate Easy Fit 5 blades 1 Handle + 2 Cartridges (1.1%)</c:v>
                </c:pt>
                <c:pt idx="9">
                  <c:v>Gillette Sensor 3 Sensitive Disposable Razors 4 Pack (2.3%)</c:v>
                </c:pt>
              </c:strCache>
            </c:strRef>
          </c:cat>
          <c:val>
            <c:numRef>
              <c:f>Sheet1!$B$2:$B$11</c:f>
              <c:numCache>
                <c:formatCode>General</c:formatCode>
                <c:ptCount val="10"/>
                <c:pt idx="0">
                  <c:v>0.27646511237002425</c:v>
                </c:pt>
                <c:pt idx="1">
                  <c:v>7.6189888247288617E-2</c:v>
                </c:pt>
                <c:pt idx="2">
                  <c:v>6.8982214135547781E-2</c:v>
                </c:pt>
                <c:pt idx="3">
                  <c:v>6.767477058756069E-2</c:v>
                </c:pt>
                <c:pt idx="4">
                  <c:v>4.5528932829914194E-2</c:v>
                </c:pt>
                <c:pt idx="5">
                  <c:v>4.2900437112900688E-2</c:v>
                </c:pt>
                <c:pt idx="6">
                  <c:v>4.1314934168426895E-2</c:v>
                </c:pt>
                <c:pt idx="7">
                  <c:v>3.2534678126889795E-2</c:v>
                </c:pt>
                <c:pt idx="8">
                  <c:v>2.8293534342878214E-2</c:v>
                </c:pt>
                <c:pt idx="9">
                  <c:v>2.787072535807279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B$2:$B$21</c:f>
              <c:numCache>
                <c:formatCode>General</c:formatCode>
                <c:ptCount val="20"/>
                <c:pt idx="0">
                  <c:v>109.53467293999491</c:v>
                </c:pt>
                <c:pt idx="1">
                  <c:v>107.19329028856075</c:v>
                </c:pt>
                <c:pt idx="2">
                  <c:v>105.00723985263565</c:v>
                </c:pt>
                <c:pt idx="3">
                  <c:v>103.95749603385394</c:v>
                </c:pt>
                <c:pt idx="4">
                  <c:v>102.93282118538278</c:v>
                </c:pt>
                <c:pt idx="5">
                  <c:v>101.93227158226689</c:v>
                </c:pt>
                <c:pt idx="6">
                  <c:v>100.9549494006859</c:v>
                </c:pt>
                <c:pt idx="7">
                  <c:v>100</c:v>
                </c:pt>
                <c:pt idx="8">
                  <c:v>95.236108389999487</c:v>
                </c:pt>
                <c:pt idx="9">
                  <c:v>91.086850351040553</c:v>
                </c:pt>
                <c:pt idx="10">
                  <c:v>87.451764887720856</c:v>
                </c:pt>
                <c:pt idx="11">
                  <c:v>84.244160283429409</c:v>
                </c:pt>
                <c:pt idx="12">
                  <c:v>81.391647412987552</c:v>
                </c:pt>
                <c:pt idx="13">
                  <c:v>79.703036556765539</c:v>
                </c:pt>
                <c:pt idx="14">
                  <c:v>78.100859575073827</c:v>
                </c:pt>
                <c:pt idx="15">
                  <c:v>76.578342839194335</c:v>
                </c:pt>
                <c:pt idx="16">
                  <c:v>75.129380638101566</c:v>
                </c:pt>
                <c:pt idx="17">
                  <c:v>73.748465612001823</c:v>
                </c:pt>
                <c:pt idx="18">
                  <c:v>72.430624777939428</c:v>
                </c:pt>
                <c:pt idx="19">
                  <c:v>71.1713613644922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C$2:$C$21</c:f>
              <c:numCache>
                <c:formatCode>General</c:formatCode>
                <c:ptCount val="20"/>
                <c:pt idx="0">
                  <c:v>94.253709875287143</c:v>
                </c:pt>
                <c:pt idx="1">
                  <c:v>94.378620007619716</c:v>
                </c:pt>
                <c:pt idx="2">
                  <c:v>94.549627039861335</c:v>
                </c:pt>
                <c:pt idx="3">
                  <c:v>95.67581475296798</c:v>
                </c:pt>
                <c:pt idx="4">
                  <c:v>96.783349402283747</c:v>
                </c:pt>
                <c:pt idx="5">
                  <c:v>97.87284299257017</c:v>
                </c:pt>
                <c:pt idx="6">
                  <c:v>98.944876137446542</c:v>
                </c:pt>
                <c:pt idx="7">
                  <c:v>100</c:v>
                </c:pt>
                <c:pt idx="8">
                  <c:v>97.143895211645955</c:v>
                </c:pt>
                <c:pt idx="9">
                  <c:v>94.735595343334296</c:v>
                </c:pt>
                <c:pt idx="10">
                  <c:v>92.705617974310982</c:v>
                </c:pt>
                <c:pt idx="11">
                  <c:v>90.99130135954897</c:v>
                </c:pt>
                <c:pt idx="12">
                  <c:v>89.538767007849074</c:v>
                </c:pt>
                <c:pt idx="13">
                  <c:v>89.271457909422566</c:v>
                </c:pt>
                <c:pt idx="14">
                  <c:v>89.035249497090732</c:v>
                </c:pt>
                <c:pt idx="15">
                  <c:v>88.827457050654928</c:v>
                </c:pt>
                <c:pt idx="16">
                  <c:v>88.645644127505236</c:v>
                </c:pt>
                <c:pt idx="17">
                  <c:v>88.487605534711847</c:v>
                </c:pt>
                <c:pt idx="18">
                  <c:v>88.351348832878472</c:v>
                </c:pt>
                <c:pt idx="19">
                  <c:v>88.2350754152170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D$2:$D$21</c:f>
              <c:numCache>
                <c:formatCode>General</c:formatCode>
                <c:ptCount val="20"/>
                <c:pt idx="0">
                  <c:v>78.381454347686613</c:v>
                </c:pt>
                <c:pt idx="1">
                  <c:v>81.061322227496063</c:v>
                </c:pt>
                <c:pt idx="2">
                  <c:v>83.674702537545414</c:v>
                </c:pt>
                <c:pt idx="3">
                  <c:v>87.062073078729938</c:v>
                </c:pt>
                <c:pt idx="4">
                  <c:v>90.386153439618397</c:v>
                </c:pt>
                <c:pt idx="5">
                  <c:v>93.64913228561565</c:v>
                </c:pt>
                <c:pt idx="6">
                  <c:v>96.853088941815628</c:v>
                </c:pt>
                <c:pt idx="7">
                  <c:v>100</c:v>
                </c:pt>
                <c:pt idx="8">
                  <c:v>99.105608890773993</c:v>
                </c:pt>
                <c:pt idx="9">
                  <c:v>98.488677641252195</c:v>
                </c:pt>
                <c:pt idx="10">
                  <c:v>98.111418681245183</c:v>
                </c:pt>
                <c:pt idx="11">
                  <c:v>97.935724372509355</c:v>
                </c:pt>
                <c:pt idx="12">
                  <c:v>97.926605935951088</c:v>
                </c:pt>
                <c:pt idx="13">
                  <c:v>99.133331121513322</c:v>
                </c:pt>
                <c:pt idx="14">
                  <c:v>100.31385465036226</c:v>
                </c:pt>
                <c:pt idx="15">
                  <c:v>101.46973674212816</c:v>
                </c:pt>
                <c:pt idx="16">
                  <c:v>102.60234890874642</c:v>
                </c:pt>
                <c:pt idx="17">
                  <c:v>103.71291181221656</c:v>
                </c:pt>
                <c:pt idx="18">
                  <c:v>104.8025242545658</c:v>
                </c:pt>
                <c:pt idx="19">
                  <c:v>105.872185213312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E$2:$E$21</c:f>
              <c:numCache>
                <c:formatCode>General</c:formatCode>
                <c:ptCount val="20"/>
                <c:pt idx="0">
                  <c:v>0.41101494040589326</c:v>
                </c:pt>
                <c:pt idx="1">
                  <c:v>0.42444675476379751</c:v>
                </c:pt>
                <c:pt idx="2">
                  <c:v>0.4372796030410821</c:v>
                </c:pt>
                <c:pt idx="3">
                  <c:v>0.44955267603909543</c:v>
                </c:pt>
                <c:pt idx="4">
                  <c:v>0.46130181849290358</c:v>
                </c:pt>
                <c:pt idx="5">
                  <c:v>0.47255987871248761</c:v>
                </c:pt>
                <c:pt idx="6">
                  <c:v>0.48335701527927405</c:v>
                </c:pt>
                <c:pt idx="7">
                  <c:v>0.49372096682833566</c:v>
                </c:pt>
                <c:pt idx="8">
                  <c:v>0.50367728999788652</c:v>
                </c:pt>
                <c:pt idx="9">
                  <c:v>0.51324956984363601</c:v>
                </c:pt>
                <c:pt idx="10">
                  <c:v>0.52245960636504296</c:v>
                </c:pt>
                <c:pt idx="11">
                  <c:v>0.53132758024870064</c:v>
                </c:pt>
                <c:pt idx="12">
                  <c:v>0.53987220048117646</c:v>
                </c:pt>
                <c:pt idx="13">
                  <c:v>0.5481108361037158</c:v>
                </c:pt>
                <c:pt idx="14">
                  <c:v>0.55605963406143399</c:v>
                </c:pt>
                <c:pt idx="15">
                  <c:v>0.56373362482960288</c:v>
                </c:pt>
                <c:pt idx="16">
                  <c:v>0.57114681727090122</c:v>
                </c:pt>
                <c:pt idx="17">
                  <c:v>0.5783122839831667</c:v>
                </c:pt>
                <c:pt idx="18">
                  <c:v>0.5852422382315946</c:v>
                </c:pt>
                <c:pt idx="19">
                  <c:v>0.5919481034178257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Quattro Four Blade 1 Handle + 4 Cartri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Razors (12.2%)</c:v>
                </c:pt>
                <c:pt idx="1">
                  <c:v>Schick Hydro 5 Blade Sensitive 1 Handle + 3 Cartridges (2.0%)</c:v>
                </c:pt>
                <c:pt idx="2">
                  <c:v>Equate 2 Blade Disposable Razors 5 Pack (5.5%)</c:v>
                </c:pt>
                <c:pt idx="3">
                  <c:v>Equate 2 Blade Disposable Razors 12 Pack (5.7%)</c:v>
                </c:pt>
                <c:pt idx="4">
                  <c:v>Dollar Shave Club 6 1 Handle + 2 Blades (2.0%)</c:v>
                </c:pt>
                <c:pt idx="5">
                  <c:v>Equate Speed 3 Disposable Razors 4 Pack (2.3%)</c:v>
                </c:pt>
                <c:pt idx="6">
                  <c:v>Equate Easy Fit 5 blades 1 Handle + 2 Cartridges (1.1%)</c:v>
                </c:pt>
                <c:pt idx="7">
                  <c:v>Schick Xtreme 3 Sensitive Disposable Razors 4 Pack (2.8%)</c:v>
                </c:pt>
                <c:pt idx="8">
                  <c:v>Equate Caliber 5 Disposable Razors 3 Pack (2.2%)</c:v>
                </c:pt>
                <c:pt idx="9">
                  <c:v>Schick Xtreme 2 Sensitive Disposable Razors 12 Pack (2.7%)</c:v>
                </c:pt>
              </c:strCache>
            </c:strRef>
          </c:cat>
          <c:val>
            <c:numRef>
              <c:f>Sheet1!$B$2:$B$11</c:f>
              <c:numCache>
                <c:formatCode>General</c:formatCode>
                <c:ptCount val="10"/>
                <c:pt idx="0">
                  <c:v>0.14246055789943496</c:v>
                </c:pt>
                <c:pt idx="1">
                  <c:v>0.1359042829134674</c:v>
                </c:pt>
                <c:pt idx="2">
                  <c:v>8.0786528446037301E-2</c:v>
                </c:pt>
                <c:pt idx="3">
                  <c:v>7.4166025432715388E-2</c:v>
                </c:pt>
                <c:pt idx="4">
                  <c:v>5.9195674821256483E-2</c:v>
                </c:pt>
                <c:pt idx="5">
                  <c:v>4.287814536857814E-2</c:v>
                </c:pt>
                <c:pt idx="6">
                  <c:v>3.769599224149188E-2</c:v>
                </c:pt>
                <c:pt idx="7">
                  <c:v>3.6153222539978776E-2</c:v>
                </c:pt>
                <c:pt idx="8">
                  <c:v>3.2251284429644339E-2</c:v>
                </c:pt>
                <c:pt idx="9">
                  <c:v>2.782608625347791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Quattro Four Blade 1 Handle + 4 Cartri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Dollar Shave Club 6 1 Handle + 2 Blades (2.0%)</c:v>
                </c:pt>
                <c:pt idx="3">
                  <c:v>Equate 2 Blade Disposable Razors 5 Pack (5.5%)</c:v>
                </c:pt>
                <c:pt idx="4">
                  <c:v>Equate 2 Blade Disposable Razors 12 Pack (5.7%)</c:v>
                </c:pt>
                <c:pt idx="5">
                  <c:v>Equate Easy Fit 5 blades 1 Handle + 2 Cartridges (1.1%)</c:v>
                </c:pt>
                <c:pt idx="6">
                  <c:v>Gillette Mach 3 1 Handle + 2 Cartridges (2.7%)</c:v>
                </c:pt>
                <c:pt idx="7">
                  <c:v>Equate Speed 3 Disposable Razors 4 Pack (2.3%)</c:v>
                </c:pt>
                <c:pt idx="8">
                  <c:v>Schick Xtreme 3 Sensitive Disposable Razors 4 Pack (2.8%)</c:v>
                </c:pt>
                <c:pt idx="9">
                  <c:v>Schick Hydro 5 Blade Sensitive Refills 6 Pack (0.6%)</c:v>
                </c:pt>
              </c:strCache>
            </c:strRef>
          </c:cat>
          <c:val>
            <c:numRef>
              <c:f>Sheet1!$B$2:$B$11</c:f>
              <c:numCache>
                <c:formatCode>General</c:formatCode>
                <c:ptCount val="10"/>
                <c:pt idx="0">
                  <c:v>0.17866816279037462</c:v>
                </c:pt>
                <c:pt idx="1">
                  <c:v>0.1563001340022831</c:v>
                </c:pt>
                <c:pt idx="2">
                  <c:v>6.9722084586648039E-2</c:v>
                </c:pt>
                <c:pt idx="3">
                  <c:v>6.4745067467913961E-2</c:v>
                </c:pt>
                <c:pt idx="4">
                  <c:v>4.914006111089389E-2</c:v>
                </c:pt>
                <c:pt idx="5">
                  <c:v>4.2003854068749451E-2</c:v>
                </c:pt>
                <c:pt idx="6">
                  <c:v>3.4694430808568134E-2</c:v>
                </c:pt>
                <c:pt idx="7">
                  <c:v>3.4471937705414075E-2</c:v>
                </c:pt>
                <c:pt idx="8">
                  <c:v>3.1759426622238504E-2</c:v>
                </c:pt>
                <c:pt idx="9">
                  <c:v>3.1216514652761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5 Blade Sensitive 1 Handle + 5 Cartridges</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3.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2.57</c:v>
                </c:pt>
                <c:pt idx="1">
                  <c:v>13.47</c:v>
                </c:pt>
                <c:pt idx="2">
                  <c:v>14.97</c:v>
                </c:pt>
                <c:pt idx="3">
                  <c:v>15.97</c:v>
                </c:pt>
                <c:pt idx="4">
                  <c:v>18.57</c:v>
                </c:pt>
              </c:numCache>
            </c:numRef>
          </c:xVal>
          <c:yVal>
            <c:numRef>
              <c:f>Sheet1!$B$2:$B$6</c:f>
              <c:numCache>
                <c:formatCode>General</c:formatCode>
                <c:ptCount val="5"/>
                <c:pt idx="0">
                  <c:v>0.30611197653194738</c:v>
                </c:pt>
                <c:pt idx="1">
                  <c:v>8.5445097811823051E-2</c:v>
                </c:pt>
                <c:pt idx="2">
                  <c:v>0</c:v>
                </c:pt>
                <c:pt idx="3">
                  <c:v>-5.5699012342983682E-2</c:v>
                </c:pt>
                <c:pt idx="4">
                  <c:v>-0.1409964333656023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5 Blade Sensitive 1 Handle + 8 Cartridges</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6.97</c:v>
                </c:pt>
                <c:pt idx="1">
                  <c:v>17.97</c:v>
                </c:pt>
                <c:pt idx="2">
                  <c:v>19.97</c:v>
                </c:pt>
                <c:pt idx="3">
                  <c:v>21.97</c:v>
                </c:pt>
                <c:pt idx="4">
                  <c:v>24.97</c:v>
                </c:pt>
              </c:numCache>
            </c:numRef>
          </c:xVal>
          <c:yVal>
            <c:numRef>
              <c:f>Sheet1!$B$9:$B$13</c:f>
              <c:numCache>
                <c:formatCode>General</c:formatCode>
                <c:ptCount val="5"/>
                <c:pt idx="0">
                  <c:v>8.0458777346199495E-2</c:v>
                </c:pt>
                <c:pt idx="1">
                  <c:v>4.5854835659553471E-2</c:v>
                </c:pt>
                <c:pt idx="2">
                  <c:v>0</c:v>
                </c:pt>
                <c:pt idx="3">
                  <c:v>-3.595429776601284E-2</c:v>
                </c:pt>
                <c:pt idx="4">
                  <c:v>-9.2232253449873625E-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Hydro 5 Blade Chrome 1 Handle + 3 Cartridges + Docking Station/Stand + Travel Cover</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6.97</c:v>
                </c:pt>
                <c:pt idx="1">
                  <c:v>17.97</c:v>
                </c:pt>
                <c:pt idx="2">
                  <c:v>19.97</c:v>
                </c:pt>
                <c:pt idx="3">
                  <c:v>21.97</c:v>
                </c:pt>
                <c:pt idx="4">
                  <c:v>24.97</c:v>
                </c:pt>
              </c:numCache>
            </c:numRef>
          </c:xVal>
          <c:yVal>
            <c:numRef>
              <c:f>Sheet1!$B$16:$B$20</c:f>
              <c:numCache>
                <c:formatCode>General</c:formatCode>
                <c:ptCount val="5"/>
                <c:pt idx="0">
                  <c:v>5.9631078656304959E-2</c:v>
                </c:pt>
                <c:pt idx="1">
                  <c:v>3.6090438014776578E-2</c:v>
                </c:pt>
                <c:pt idx="2">
                  <c:v>0</c:v>
                </c:pt>
                <c:pt idx="3">
                  <c:v>-3.0699541783719562E-2</c:v>
                </c:pt>
                <c:pt idx="4">
                  <c:v>-7.8524191682997457E-2</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Schick Hydro 5 Groomer 1 Handle + 1 Cartridge</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2.57</c:v>
                </c:pt>
                <c:pt idx="1">
                  <c:v>13.47</c:v>
                </c:pt>
                <c:pt idx="2">
                  <c:v>14.97</c:v>
                </c:pt>
                <c:pt idx="3">
                  <c:v>15.97</c:v>
                </c:pt>
                <c:pt idx="4">
                  <c:v>18.57</c:v>
                </c:pt>
              </c:numCache>
            </c:numRef>
          </c:xVal>
          <c:yVal>
            <c:numRef>
              <c:f>Sheet1!$B$23:$B$27</c:f>
              <c:numCache>
                <c:formatCode>General</c:formatCode>
                <c:ptCount val="5"/>
                <c:pt idx="0">
                  <c:v>0.20254615641979146</c:v>
                </c:pt>
                <c:pt idx="1">
                  <c:v>5.5543221104090663E-2</c:v>
                </c:pt>
                <c:pt idx="2">
                  <c:v>0</c:v>
                </c:pt>
                <c:pt idx="3">
                  <c:v>-4.8597767169512356E-2</c:v>
                </c:pt>
                <c:pt idx="4">
                  <c:v>-0.10804078981695989</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Wilkinson Sword Classic Double Edge 1 Handle + 5 Cartridges</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12.57</c:v>
                </c:pt>
                <c:pt idx="1">
                  <c:v>13.47</c:v>
                </c:pt>
                <c:pt idx="2">
                  <c:v>14.97</c:v>
                </c:pt>
                <c:pt idx="3">
                  <c:v>15.97</c:v>
                </c:pt>
                <c:pt idx="4">
                  <c:v>18.57</c:v>
                </c:pt>
              </c:numCache>
            </c:numRef>
          </c:xVal>
          <c:yVal>
            <c:numRef>
              <c:f>Sheet1!$B$30:$B$34</c:f>
              <c:numCache>
                <c:formatCode>General</c:formatCode>
                <c:ptCount val="5"/>
                <c:pt idx="0">
                  <c:v>0.20776412437450645</c:v>
                </c:pt>
                <c:pt idx="1">
                  <c:v>6.6906121647226771E-2</c:v>
                </c:pt>
                <c:pt idx="2">
                  <c:v>0</c:v>
                </c:pt>
                <c:pt idx="3">
                  <c:v>-6.7526389090762987E-2</c:v>
                </c:pt>
                <c:pt idx="4">
                  <c:v>-0.1435061548178980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4.97"/>
          <c:min val="12.57"/>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B$2:$B$32</c:f>
              <c:numCache>
                <c:formatCode>General</c:formatCode>
                <c:ptCount val="31"/>
                <c:pt idx="0">
                  <c:v>130.61119765319472</c:v>
                </c:pt>
                <c:pt idx="1">
                  <c:v>124.88567371042365</c:v>
                </c:pt>
                <c:pt idx="2">
                  <c:v>119.66872374578152</c:v>
                </c:pt>
                <c:pt idx="3">
                  <c:v>114.91411223631884</c:v>
                </c:pt>
                <c:pt idx="4">
                  <c:v>110.57387649369265</c:v>
                </c:pt>
                <c:pt idx="5">
                  <c:v>107.90604378360791</c:v>
                </c:pt>
                <c:pt idx="6">
                  <c:v>106.66200089228566</c:v>
                </c:pt>
                <c:pt idx="7">
                  <c:v>105.45976223312927</c:v>
                </c:pt>
                <c:pt idx="8">
                  <c:v>104.29701741735968</c:v>
                </c:pt>
                <c:pt idx="9">
                  <c:v>103.17161245600859</c:v>
                </c:pt>
                <c:pt idx="10">
                  <c:v>102.08153784815383</c:v>
                </c:pt>
                <c:pt idx="11">
                  <c:v>101.02491773578291</c:v>
                </c:pt>
                <c:pt idx="12">
                  <c:v>100</c:v>
                </c:pt>
                <c:pt idx="13">
                  <c:v>98.816134975409156</c:v>
                </c:pt>
                <c:pt idx="14">
                  <c:v>97.669222781081942</c:v>
                </c:pt>
                <c:pt idx="15">
                  <c:v>96.557172411769486</c:v>
                </c:pt>
                <c:pt idx="16">
                  <c:v>95.47805726520906</c:v>
                </c:pt>
                <c:pt idx="17">
                  <c:v>94.430098765701601</c:v>
                </c:pt>
                <c:pt idx="18">
                  <c:v>93.683427782691055</c:v>
                </c:pt>
                <c:pt idx="19">
                  <c:v>92.954050262879832</c:v>
                </c:pt>
                <c:pt idx="20">
                  <c:v>92.241285180291655</c:v>
                </c:pt>
                <c:pt idx="21">
                  <c:v>91.544487340793864</c:v>
                </c:pt>
                <c:pt idx="22">
                  <c:v>90.863045008128395</c:v>
                </c:pt>
                <c:pt idx="23">
                  <c:v>90.196377720432423</c:v>
                </c:pt>
                <c:pt idx="24">
                  <c:v>89.543934280175492</c:v>
                </c:pt>
                <c:pt idx="25">
                  <c:v>88.905190902013246</c:v>
                </c:pt>
                <c:pt idx="26">
                  <c:v>88.279649504473952</c:v>
                </c:pt>
                <c:pt idx="27">
                  <c:v>87.666836132718913</c:v>
                </c:pt>
                <c:pt idx="28">
                  <c:v>87.066299500780033</c:v>
                </c:pt>
                <c:pt idx="29">
                  <c:v>86.477609642755993</c:v>
                </c:pt>
                <c:pt idx="30">
                  <c:v>85.90035666343973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C$2:$C$32</c:f>
              <c:numCache>
                <c:formatCode>General</c:formatCode>
                <c:ptCount val="31"/>
                <c:pt idx="0">
                  <c:v>109.82116802022601</c:v>
                </c:pt>
                <c:pt idx="1">
                  <c:v>106.67704842637551</c:v>
                </c:pt>
                <c:pt idx="2">
                  <c:v>103.82032217179295</c:v>
                </c:pt>
                <c:pt idx="3">
                  <c:v>101.23073845435657</c:v>
                </c:pt>
                <c:pt idx="4">
                  <c:v>98.884045319445548</c:v>
                </c:pt>
                <c:pt idx="5">
                  <c:v>97.931511842329684</c:v>
                </c:pt>
                <c:pt idx="6">
                  <c:v>98.211690463738449</c:v>
                </c:pt>
                <c:pt idx="7">
                  <c:v>98.497800509072448</c:v>
                </c:pt>
                <c:pt idx="8">
                  <c:v>98.789320085406658</c:v>
                </c:pt>
                <c:pt idx="9">
                  <c:v>99.085754996575503</c:v>
                </c:pt>
                <c:pt idx="10">
                  <c:v>99.386637508333919</c:v>
                </c:pt>
                <c:pt idx="11">
                  <c:v>99.691525217631963</c:v>
                </c:pt>
                <c:pt idx="12">
                  <c:v>100</c:v>
                </c:pt>
                <c:pt idx="13">
                  <c:v>100.12147556045224</c:v>
                </c:pt>
                <c:pt idx="14">
                  <c:v>100.24944193199903</c:v>
                </c:pt>
                <c:pt idx="15">
                  <c:v>100.38319927184619</c:v>
                </c:pt>
                <c:pt idx="16">
                  <c:v>100.52210970859437</c:v>
                </c:pt>
                <c:pt idx="17">
                  <c:v>100.665590804422</c:v>
                </c:pt>
                <c:pt idx="18">
                  <c:v>101.10400113300722</c:v>
                </c:pt>
                <c:pt idx="19">
                  <c:v>101.54141785966932</c:v>
                </c:pt>
                <c:pt idx="20">
                  <c:v>101.97777813218592</c:v>
                </c:pt>
                <c:pt idx="21">
                  <c:v>102.41302302290526</c:v>
                </c:pt>
                <c:pt idx="22">
                  <c:v>102.84709721892791</c:v>
                </c:pt>
                <c:pt idx="23">
                  <c:v>103.27994874148993</c:v>
                </c:pt>
                <c:pt idx="24">
                  <c:v>103.71152869243561</c:v>
                </c:pt>
                <c:pt idx="25">
                  <c:v>104.14179102570809</c:v>
                </c:pt>
                <c:pt idx="26">
                  <c:v>104.57069234181809</c:v>
                </c:pt>
                <c:pt idx="27">
                  <c:v>104.99819170335117</c:v>
                </c:pt>
                <c:pt idx="28">
                  <c:v>105.42425046962649</c:v>
                </c:pt>
                <c:pt idx="29">
                  <c:v>105.84883214871664</c:v>
                </c:pt>
                <c:pt idx="30">
                  <c:v>106.271902265146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D$2:$D$32</c:f>
              <c:numCache>
                <c:formatCode>General</c:formatCode>
                <c:ptCount val="31"/>
                <c:pt idx="0">
                  <c:v>92.787304546359479</c:v>
                </c:pt>
                <c:pt idx="1">
                  <c:v>91.733662859008987</c:v>
                </c:pt>
                <c:pt idx="2">
                  <c:v>90.789519049448202</c:v>
                </c:pt>
                <c:pt idx="3">
                  <c:v>89.955499331429777</c:v>
                </c:pt>
                <c:pt idx="4">
                  <c:v>89.226373063392217</c:v>
                </c:pt>
                <c:pt idx="5">
                  <c:v>89.677650932082059</c:v>
                </c:pt>
                <c:pt idx="6">
                  <c:v>91.217796288086106</c:v>
                </c:pt>
                <c:pt idx="7">
                  <c:v>92.7346576050099</c:v>
                </c:pt>
                <c:pt idx="8">
                  <c:v>94.22917405467274</c:v>
                </c:pt>
                <c:pt idx="9">
                  <c:v>95.702206862704131</c:v>
                </c:pt>
                <c:pt idx="10">
                  <c:v>97.154546843393106</c:v>
                </c:pt>
                <c:pt idx="11">
                  <c:v>98.586921250653091</c:v>
                </c:pt>
                <c:pt idx="12">
                  <c:v>100</c:v>
                </c:pt>
                <c:pt idx="13">
                  <c:v>101.20082773382586</c:v>
                </c:pt>
                <c:pt idx="14">
                  <c:v>102.38325229345257</c:v>
                </c:pt>
                <c:pt idx="15">
                  <c:v>103.5477065957115</c:v>
                </c:pt>
                <c:pt idx="16">
                  <c:v>104.69460198453859</c:v>
                </c:pt>
                <c:pt idx="17">
                  <c:v>105.82432971589928</c:v>
                </c:pt>
                <c:pt idx="18">
                  <c:v>107.24839013662042</c:v>
                </c:pt>
                <c:pt idx="19">
                  <c:v>108.65662711511041</c:v>
                </c:pt>
                <c:pt idx="20">
                  <c:v>110.04948015583751</c:v>
                </c:pt>
                <c:pt idx="21">
                  <c:v>111.42736663778305</c:v>
                </c:pt>
                <c:pt idx="22">
                  <c:v>112.79068319115359</c:v>
                </c:pt>
                <c:pt idx="23">
                  <c:v>114.13980697140906</c:v>
                </c:pt>
                <c:pt idx="24">
                  <c:v>115.47509684076933</c:v>
                </c:pt>
                <c:pt idx="25">
                  <c:v>116.79689446613057</c:v>
                </c:pt>
                <c:pt idx="26">
                  <c:v>118.10552534122689</c:v>
                </c:pt>
                <c:pt idx="27">
                  <c:v>119.40129973995639</c:v>
                </c:pt>
                <c:pt idx="28">
                  <c:v>120.68451360693902</c:v>
                </c:pt>
                <c:pt idx="29">
                  <c:v>121.95544939065719</c:v>
                </c:pt>
                <c:pt idx="30">
                  <c:v>123.2143768239175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E$2:$E$32</c:f>
              <c:numCache>
                <c:formatCode>General</c:formatCode>
                <c:ptCount val="31"/>
                <c:pt idx="0">
                  <c:v>0.46837994929034954</c:v>
                </c:pt>
                <c:pt idx="1">
                  <c:v>0.47670602682691432</c:v>
                </c:pt>
                <c:pt idx="2">
                  <c:v>0.48477532479411678</c:v>
                </c:pt>
                <c:pt idx="3">
                  <c:v>0.49259954157780517</c:v>
                </c:pt>
                <c:pt idx="4">
                  <c:v>0.50018967558561667</c:v>
                </c:pt>
                <c:pt idx="5">
                  <c:v>0.5075560768297489</c:v>
                </c:pt>
                <c:pt idx="6">
                  <c:v>0.51470849401450214</c:v>
                </c:pt>
                <c:pt idx="7">
                  <c:v>0.52165611757907626</c:v>
                </c:pt>
                <c:pt idx="8">
                  <c:v>0.52840761909525003</c:v>
                </c:pt>
                <c:pt idx="9">
                  <c:v>0.53497118737506577</c:v>
                </c:pt>
                <c:pt idx="10">
                  <c:v>0.54135456160464623</c:v>
                </c:pt>
                <c:pt idx="11">
                  <c:v>0.54756506178603204</c:v>
                </c:pt>
                <c:pt idx="12">
                  <c:v>0.5536096167387905</c:v>
                </c:pt>
                <c:pt idx="13">
                  <c:v>0.55949478988659807</c:v>
                </c:pt>
                <c:pt idx="14">
                  <c:v>0.56522680303055928</c:v>
                </c:pt>
                <c:pt idx="15">
                  <c:v>0.57081155829028229</c:v>
                </c:pt>
                <c:pt idx="16">
                  <c:v>0.57625465837537693</c:v>
                </c:pt>
                <c:pt idx="17">
                  <c:v>0.58156142533373167</c:v>
                </c:pt>
                <c:pt idx="18">
                  <c:v>0.58673691790845361</c:v>
                </c:pt>
                <c:pt idx="19">
                  <c:v>0.59178594762246151</c:v>
                </c:pt>
                <c:pt idx="20">
                  <c:v>0.59671309369823133</c:v>
                </c:pt>
                <c:pt idx="21">
                  <c:v>0.60152271690993997</c:v>
                </c:pt>
                <c:pt idx="22">
                  <c:v>0.60621897245608092</c:v>
                </c:pt>
                <c:pt idx="23">
                  <c:v>0.6108058219324225</c:v>
                </c:pt>
                <c:pt idx="24">
                  <c:v>0.61528704447781779</c:v>
                </c:pt>
                <c:pt idx="25">
                  <c:v>0.61966624715877605</c:v>
                </c:pt>
                <c:pt idx="26">
                  <c:v>0.62394687465276832</c:v>
                </c:pt>
                <c:pt idx="27">
                  <c:v>0.62813221828490229</c:v>
                </c:pt>
                <c:pt idx="28">
                  <c:v>0.63222542446778729</c:v>
                </c:pt>
                <c:pt idx="29">
                  <c:v>0.63622950259007593</c:v>
                </c:pt>
                <c:pt idx="30">
                  <c:v>0.6401473323952446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Sensitive 1 Handle + 5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Schick Xtreme 3 Sensitive Disposable Razors 4 Pack (2.8%)</c:v>
                </c:pt>
                <c:pt idx="3">
                  <c:v>None Blades (83.2%)</c:v>
                </c:pt>
                <c:pt idx="4">
                  <c:v>Gillette Mach 3 1 Handle + 2 Cartridges (2.7%)</c:v>
                </c:pt>
                <c:pt idx="5">
                  <c:v>Schick Xtreme 3 Sensitive Disposable Razors 8 Pack (1.7%)</c:v>
                </c:pt>
                <c:pt idx="6">
                  <c:v>Schick Xtreme 2 Sensitive Disposable Razors 12 Pack (2.7%)</c:v>
                </c:pt>
                <c:pt idx="7">
                  <c:v>Bic Flex 4 Sensitive Skin Disposable Razors 3 Pack (1.7%)</c:v>
                </c:pt>
                <c:pt idx="8">
                  <c:v>Equate Speed 3 Disposable Razors 4 Pack (2.3%)</c:v>
                </c:pt>
                <c:pt idx="9">
                  <c:v>Gillette Mach 3 Sensitive Skin Disposable Razors 3 Pack (2.4%)</c:v>
                </c:pt>
              </c:strCache>
            </c:strRef>
          </c:cat>
          <c:val>
            <c:numRef>
              <c:f>Sheet1!$B$2:$B$11</c:f>
              <c:numCache>
                <c:formatCode>General</c:formatCode>
                <c:ptCount val="10"/>
                <c:pt idx="0">
                  <c:v>0.23805700948122782</c:v>
                </c:pt>
                <c:pt idx="1">
                  <c:v>0.12578946239967154</c:v>
                </c:pt>
                <c:pt idx="2">
                  <c:v>6.5631379908677567E-2</c:v>
                </c:pt>
                <c:pt idx="3">
                  <c:v>4.6514214588170372E-2</c:v>
                </c:pt>
                <c:pt idx="4">
                  <c:v>4.0968877865012146E-2</c:v>
                </c:pt>
                <c:pt idx="5">
                  <c:v>3.906535638996618E-2</c:v>
                </c:pt>
                <c:pt idx="6">
                  <c:v>3.7952720790077943E-2</c:v>
                </c:pt>
                <c:pt idx="7">
                  <c:v>3.0507238529668072E-2</c:v>
                </c:pt>
                <c:pt idx="8">
                  <c:v>2.4640461737505434E-2</c:v>
                </c:pt>
                <c:pt idx="9">
                  <c:v>2.398606950555897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Sensitive 1 Handle + 5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Schick Xtreme 3 Sensitive Disposable Razors 4 Pack (2.8%)</c:v>
                </c:pt>
                <c:pt idx="3">
                  <c:v>Schick Xtreme 3 Sensitive Disposable Razors 8 Pack (1.7%)</c:v>
                </c:pt>
                <c:pt idx="4">
                  <c:v>None Blades (83.2%)</c:v>
                </c:pt>
                <c:pt idx="5">
                  <c:v>Gillette Mach 3 1 Handle + 2 Cartridges (2.7%)</c:v>
                </c:pt>
                <c:pt idx="6">
                  <c:v>Schick Xtreme 2 Sensitive Disposable Razors 12 Pack (2.7%)</c:v>
                </c:pt>
                <c:pt idx="7">
                  <c:v>Dollar Shave Club 6 1 Handle + 2 Blades (2.0%)</c:v>
                </c:pt>
                <c:pt idx="8">
                  <c:v>Bic Flex 4 Sensitive Skin Disposable Razors 3 Pack (1.7%)</c:v>
                </c:pt>
                <c:pt idx="9">
                  <c:v>Equate Speed 3 Disposable Razors 4 Pack (2.3%)</c:v>
                </c:pt>
              </c:strCache>
            </c:strRef>
          </c:cat>
          <c:val>
            <c:numRef>
              <c:f>Sheet1!$B$2:$B$11</c:f>
              <c:numCache>
                <c:formatCode>General</c:formatCode>
                <c:ptCount val="10"/>
                <c:pt idx="0">
                  <c:v>0.23065118054228045</c:v>
                </c:pt>
                <c:pt idx="1">
                  <c:v>0.13501900765492039</c:v>
                </c:pt>
                <c:pt idx="2">
                  <c:v>5.7522089322967249E-2</c:v>
                </c:pt>
                <c:pt idx="3">
                  <c:v>4.4269747703095844E-2</c:v>
                </c:pt>
                <c:pt idx="4">
                  <c:v>3.9893682439100804E-2</c:v>
                </c:pt>
                <c:pt idx="5">
                  <c:v>3.8043364365152064E-2</c:v>
                </c:pt>
                <c:pt idx="6">
                  <c:v>3.2469729120870539E-2</c:v>
                </c:pt>
                <c:pt idx="7">
                  <c:v>2.3696881175735551E-2</c:v>
                </c:pt>
                <c:pt idx="8">
                  <c:v>2.3644928267681813E-2</c:v>
                </c:pt>
                <c:pt idx="9">
                  <c:v>2.340798369749232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B$2:$B$42</c:f>
              <c:numCache>
                <c:formatCode>General</c:formatCode>
                <c:ptCount val="41"/>
                <c:pt idx="0">
                  <c:v>108.04587773461995</c:v>
                </c:pt>
                <c:pt idx="1">
                  <c:v>107.32254369983454</c:v>
                </c:pt>
                <c:pt idx="2">
                  <c:v>106.61552758633594</c:v>
                </c:pt>
                <c:pt idx="3">
                  <c:v>105.92411793109287</c:v>
                </c:pt>
                <c:pt idx="4">
                  <c:v>105.24764619633775</c:v>
                </c:pt>
                <c:pt idx="5">
                  <c:v>104.58548356595531</c:v>
                </c:pt>
                <c:pt idx="6">
                  <c:v>103.937038025145</c:v>
                </c:pt>
                <c:pt idx="7">
                  <c:v>103.30175169488436</c:v>
                </c:pt>
                <c:pt idx="8">
                  <c:v>102.67909839584037</c:v>
                </c:pt>
                <c:pt idx="9">
                  <c:v>102.28758092443624</c:v>
                </c:pt>
                <c:pt idx="10">
                  <c:v>101.89906182580681</c:v>
                </c:pt>
                <c:pt idx="11">
                  <c:v>101.51349894012256</c:v>
                </c:pt>
                <c:pt idx="12">
                  <c:v>101.1308510872974</c:v>
                </c:pt>
                <c:pt idx="13">
                  <c:v>100.75107803705687</c:v>
                </c:pt>
                <c:pt idx="14">
                  <c:v>100.37414048005557</c:v>
                </c:pt>
                <c:pt idx="15">
                  <c:v>100</c:v>
                </c:pt>
                <c:pt idx="16">
                  <c:v>99.628619046749961</c:v>
                </c:pt>
                <c:pt idx="17">
                  <c:v>99.259960910353712</c:v>
                </c:pt>
                <c:pt idx="18">
                  <c:v>98.893989695985667</c:v>
                </c:pt>
                <c:pt idx="19">
                  <c:v>98.530670299756039</c:v>
                </c:pt>
                <c:pt idx="20">
                  <c:v>98.169968385353982</c:v>
                </c:pt>
                <c:pt idx="21">
                  <c:v>97.811850361500547</c:v>
                </c:pt>
                <c:pt idx="22">
                  <c:v>97.456283360173344</c:v>
                </c:pt>
                <c:pt idx="23">
                  <c:v>97.103235215578664</c:v>
                </c:pt>
                <c:pt idx="24">
                  <c:v>96.752674443844128</c:v>
                </c:pt>
                <c:pt idx="25">
                  <c:v>96.404570223398679</c:v>
                </c:pt>
                <c:pt idx="26">
                  <c:v>96.012124448026171</c:v>
                </c:pt>
                <c:pt idx="27">
                  <c:v>95.6222511304222</c:v>
                </c:pt>
                <c:pt idx="28">
                  <c:v>95.234924549317498</c:v>
                </c:pt>
                <c:pt idx="29">
                  <c:v>94.850119354367962</c:v>
                </c:pt>
                <c:pt idx="30">
                  <c:v>94.467810559229932</c:v>
                </c:pt>
                <c:pt idx="31">
                  <c:v>94.087973534766604</c:v>
                </c:pt>
                <c:pt idx="32">
                  <c:v>93.71058400239265</c:v>
                </c:pt>
                <c:pt idx="33">
                  <c:v>93.335618027541827</c:v>
                </c:pt>
                <c:pt idx="34">
                  <c:v>92.963052013264431</c:v>
                </c:pt>
                <c:pt idx="35">
                  <c:v>92.592862693953023</c:v>
                </c:pt>
                <c:pt idx="36">
                  <c:v>92.225027129194515</c:v>
                </c:pt>
                <c:pt idx="37">
                  <c:v>91.859522697738612</c:v>
                </c:pt>
                <c:pt idx="38">
                  <c:v>91.496327091597394</c:v>
                </c:pt>
                <c:pt idx="39">
                  <c:v>91.135418310257421</c:v>
                </c:pt>
                <c:pt idx="40">
                  <c:v>90.77677465501264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C$2:$C$42</c:f>
              <c:numCache>
                <c:formatCode>General</c:formatCode>
                <c:ptCount val="41"/>
                <c:pt idx="0">
                  <c:v>92.06901880453195</c:v>
                </c:pt>
                <c:pt idx="1">
                  <c:v>92.513775152057121</c:v>
                </c:pt>
                <c:pt idx="2">
                  <c:v>92.958215172415677</c:v>
                </c:pt>
                <c:pt idx="3">
                  <c:v>93.402202546909521</c:v>
                </c:pt>
                <c:pt idx="4">
                  <c:v>93.845610821265481</c:v>
                </c:pt>
                <c:pt idx="5">
                  <c:v>94.288322656379364</c:v>
                </c:pt>
                <c:pt idx="6">
                  <c:v>94.730229145773009</c:v>
                </c:pt>
                <c:pt idx="7">
                  <c:v>95.171229193272183</c:v>
                </c:pt>
                <c:pt idx="8">
                  <c:v>95.611228945053782</c:v>
                </c:pt>
                <c:pt idx="9">
                  <c:v>96.253259588738686</c:v>
                </c:pt>
                <c:pt idx="10">
                  <c:v>96.890180522132169</c:v>
                </c:pt>
                <c:pt idx="11">
                  <c:v>97.522045728433952</c:v>
                </c:pt>
                <c:pt idx="12">
                  <c:v>98.148908350622008</c:v>
                </c:pt>
                <c:pt idx="13">
                  <c:v>98.770820713685765</c:v>
                </c:pt>
                <c:pt idx="14">
                  <c:v>99.38783434601811</c:v>
                </c:pt>
                <c:pt idx="15">
                  <c:v>100</c:v>
                </c:pt>
                <c:pt idx="16">
                  <c:v>100.60736767182357</c:v>
                </c:pt>
                <c:pt idx="17">
                  <c:v>101.20998662058017</c:v>
                </c:pt>
                <c:pt idx="18">
                  <c:v>101.80790538665036</c:v>
                </c:pt>
                <c:pt idx="19">
                  <c:v>102.40117180942944</c:v>
                </c:pt>
                <c:pt idx="20">
                  <c:v>102.98983304441111</c:v>
                </c:pt>
                <c:pt idx="21">
                  <c:v>103.57393557966783</c:v>
                </c:pt>
                <c:pt idx="22">
                  <c:v>104.15352525174309</c:v>
                </c:pt>
                <c:pt idx="23">
                  <c:v>104.72864726098837</c:v>
                </c:pt>
                <c:pt idx="24">
                  <c:v>105.29934618636823</c:v>
                </c:pt>
                <c:pt idx="25">
                  <c:v>105.86566599975151</c:v>
                </c:pt>
                <c:pt idx="26">
                  <c:v>106.37659017464181</c:v>
                </c:pt>
                <c:pt idx="27">
                  <c:v>106.88252793935813</c:v>
                </c:pt>
                <c:pt idx="28">
                  <c:v>107.38353059897857</c:v>
                </c:pt>
                <c:pt idx="29">
                  <c:v>107.87964876748973</c:v>
                </c:pt>
                <c:pt idx="30">
                  <c:v>108.37093238043217</c:v>
                </c:pt>
                <c:pt idx="31">
                  <c:v>108.85743070722673</c:v>
                </c:pt>
                <c:pt idx="32">
                  <c:v>109.33919236320253</c:v>
                </c:pt>
                <c:pt idx="33">
                  <c:v>109.81626532132016</c:v>
                </c:pt>
                <c:pt idx="34">
                  <c:v>110.28869692360807</c:v>
                </c:pt>
                <c:pt idx="35">
                  <c:v>110.75653389231985</c:v>
                </c:pt>
                <c:pt idx="36">
                  <c:v>111.21982234082279</c:v>
                </c:pt>
                <c:pt idx="37">
                  <c:v>111.67860778421374</c:v>
                </c:pt>
                <c:pt idx="38">
                  <c:v>112.13293514969051</c:v>
                </c:pt>
                <c:pt idx="39">
                  <c:v>112.58284878666707</c:v>
                </c:pt>
                <c:pt idx="40">
                  <c:v>113.0283924766501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D$2:$D$42</c:f>
              <c:numCache>
                <c:formatCode>General</c:formatCode>
                <c:ptCount val="41"/>
                <c:pt idx="0">
                  <c:v>79.255461981480053</c:v>
                </c:pt>
                <c:pt idx="1">
                  <c:v>80.631382472016</c:v>
                </c:pt>
                <c:pt idx="2">
                  <c:v>81.994153418859398</c:v>
                </c:pt>
                <c:pt idx="3">
                  <c:v>83.344084652924536</c:v>
                </c:pt>
                <c:pt idx="4">
                  <c:v>84.68146998785771</c:v>
                </c:pt>
                <c:pt idx="5">
                  <c:v>86.006588398214731</c:v>
                </c:pt>
                <c:pt idx="6">
                  <c:v>87.319705094163524</c:v>
                </c:pt>
                <c:pt idx="7">
                  <c:v>88.621072503509652</c:v>
                </c:pt>
                <c:pt idx="8">
                  <c:v>89.910931170529622</c:v>
                </c:pt>
                <c:pt idx="9">
                  <c:v>91.385167827545445</c:v>
                </c:pt>
                <c:pt idx="10">
                  <c:v>92.848226457440987</c:v>
                </c:pt>
                <c:pt idx="11">
                  <c:v>94.300227688267896</c:v>
                </c:pt>
                <c:pt idx="12">
                  <c:v>95.741290079845413</c:v>
                </c:pt>
                <c:pt idx="13">
                  <c:v>97.171530181915273</c:v>
                </c:pt>
                <c:pt idx="14">
                  <c:v>98.591062590135067</c:v>
                </c:pt>
                <c:pt idx="15">
                  <c:v>100</c:v>
                </c:pt>
                <c:pt idx="16">
                  <c:v>101.39845325878865</c:v>
                </c:pt>
                <c:pt idx="17">
                  <c:v>102.78653141560842</c:v>
                </c:pt>
                <c:pt idx="18">
                  <c:v>104.16434176962504</c:v>
                </c:pt>
                <c:pt idx="19">
                  <c:v>105.53198991655341</c:v>
                </c:pt>
                <c:pt idx="20">
                  <c:v>106.88957979347882</c:v>
                </c:pt>
                <c:pt idx="21">
                  <c:v>108.23721372208419</c:v>
                </c:pt>
                <c:pt idx="22">
                  <c:v>109.57499245034177</c:v>
                </c:pt>
                <c:pt idx="23">
                  <c:v>110.90301519273767</c:v>
                </c:pt>
                <c:pt idx="24">
                  <c:v>112.22137966909081</c:v>
                </c:pt>
                <c:pt idx="25">
                  <c:v>113.53018214201727</c:v>
                </c:pt>
                <c:pt idx="26">
                  <c:v>114.77361072264594</c:v>
                </c:pt>
                <c:pt idx="27">
                  <c:v>116.00621707539153</c:v>
                </c:pt>
                <c:pt idx="28">
                  <c:v>117.22810663286867</c:v>
                </c:pt>
                <c:pt idx="29">
                  <c:v>118.43938346318336</c:v>
                </c:pt>
                <c:pt idx="30">
                  <c:v>119.6401502941093</c:v>
                </c:pt>
                <c:pt idx="31">
                  <c:v>120.83050853669471</c:v>
                </c:pt>
                <c:pt idx="32">
                  <c:v>122.01055830832411</c:v>
                </c:pt>
                <c:pt idx="33">
                  <c:v>123.18039845523418</c:v>
                </c:pt>
                <c:pt idx="34">
                  <c:v>124.34012657450666</c:v>
                </c:pt>
                <c:pt idx="35">
                  <c:v>125.48983903555195</c:v>
                </c:pt>
                <c:pt idx="36">
                  <c:v>126.62963100109846</c:v>
                </c:pt>
                <c:pt idx="37">
                  <c:v>127.75959644768821</c:v>
                </c:pt>
                <c:pt idx="38">
                  <c:v>128.87982818571419</c:v>
                </c:pt>
                <c:pt idx="39">
                  <c:v>129.99041787898844</c:v>
                </c:pt>
                <c:pt idx="40">
                  <c:v>131.0914560638696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E$2:$E$42</c:f>
              <c:numCache>
                <c:formatCode>General</c:formatCode>
                <c:ptCount val="41"/>
                <c:pt idx="0">
                  <c:v>0.48665442630096428</c:v>
                </c:pt>
                <c:pt idx="1">
                  <c:v>0.49263399035104039</c:v>
                </c:pt>
                <c:pt idx="2">
                  <c:v>0.49847585574711367</c:v>
                </c:pt>
                <c:pt idx="3">
                  <c:v>0.50418472477674237</c:v>
                </c:pt>
                <c:pt idx="4">
                  <c:v>0.50976508803192822</c:v>
                </c:pt>
                <c:pt idx="5">
                  <c:v>0.51522123618961402</c:v>
                </c:pt>
                <c:pt idx="6">
                  <c:v>0.52055727101416427</c:v>
                </c:pt>
                <c:pt idx="7">
                  <c:v>0.5257771156411194</c:v>
                </c:pt>
                <c:pt idx="8">
                  <c:v>0.53088452419641152</c:v>
                </c:pt>
                <c:pt idx="9">
                  <c:v>0.53588309080060548</c:v>
                </c:pt>
                <c:pt idx="10">
                  <c:v>0.54077625800355111</c:v>
                </c:pt>
                <c:pt idx="11">
                  <c:v>0.54556732469104674</c:v>
                </c:pt>
                <c:pt idx="12">
                  <c:v>0.55025945350167083</c:v>
                </c:pt>
                <c:pt idx="13">
                  <c:v>0.55485567778882805</c:v>
                </c:pt>
                <c:pt idx="14">
                  <c:v>0.55935890816021061</c:v>
                </c:pt>
                <c:pt idx="15">
                  <c:v>0.56377193862430464</c:v>
                </c:pt>
                <c:pt idx="16">
                  <c:v>0.56809745237121279</c:v>
                </c:pt>
                <c:pt idx="17">
                  <c:v>0.57233802721292903</c:v>
                </c:pt>
                <c:pt idx="18">
                  <c:v>0.57649614070624056</c:v>
                </c:pt>
                <c:pt idx="19">
                  <c:v>0.58057417497965169</c:v>
                </c:pt>
                <c:pt idx="20">
                  <c:v>0.58457442128408987</c:v>
                </c:pt>
                <c:pt idx="21">
                  <c:v>0.58849908428565723</c:v>
                </c:pt>
                <c:pt idx="22">
                  <c:v>0.59235028611733109</c:v>
                </c:pt>
                <c:pt idx="23">
                  <c:v>0.59613007020525555</c:v>
                </c:pt>
                <c:pt idx="24">
                  <c:v>0.59984040488412327</c:v>
                </c:pt>
                <c:pt idx="25">
                  <c:v>0.6034831868150824</c:v>
                </c:pt>
                <c:pt idx="26">
                  <c:v>0.60706024421864524</c:v>
                </c:pt>
                <c:pt idx="27">
                  <c:v>0.61057333993416929</c:v>
                </c:pt>
                <c:pt idx="28">
                  <c:v>0.61402417431667544</c:v>
                </c:pt>
                <c:pt idx="29">
                  <c:v>0.61741438798099979</c:v>
                </c:pt>
                <c:pt idx="30">
                  <c:v>0.62074556440258444</c:v>
                </c:pt>
                <c:pt idx="31">
                  <c:v>0.62401923238357204</c:v>
                </c:pt>
                <c:pt idx="32">
                  <c:v>0.62723686839227055</c:v>
                </c:pt>
                <c:pt idx="33">
                  <c:v>0.63039989878351133</c:v>
                </c:pt>
                <c:pt idx="34">
                  <c:v>0.6335097019069148</c:v>
                </c:pt>
                <c:pt idx="35">
                  <c:v>0.63656761010961049</c:v>
                </c:pt>
                <c:pt idx="36">
                  <c:v>0.63957491163952673</c:v>
                </c:pt>
                <c:pt idx="37">
                  <c:v>0.64253285245495961</c:v>
                </c:pt>
                <c:pt idx="38">
                  <c:v>0.64544263794576173</c:v>
                </c:pt>
                <c:pt idx="39">
                  <c:v>0.6483054345711492</c:v>
                </c:pt>
                <c:pt idx="40">
                  <c:v>0.6511223714187972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Equate (2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ic (16.9%)</c:v>
                </c:pt>
                <c:pt idx="1">
                  <c:v>Gillette (38.7%)</c:v>
                </c:pt>
                <c:pt idx="2">
                  <c:v>Schick (11.2%)</c:v>
                </c:pt>
                <c:pt idx="3">
                  <c:v>Dollar Shave Club (2.9%)</c:v>
                </c:pt>
                <c:pt idx="4">
                  <c:v>Harrys (11.2%)</c:v>
                </c:pt>
                <c:pt idx="5">
                  <c:v>Van Der Hagen (2.0%)</c:v>
                </c:pt>
              </c:strCache>
            </c:strRef>
          </c:cat>
          <c:val>
            <c:numRef>
              <c:f>Sheet1!$B$2:$B$7</c:f>
              <c:numCache>
                <c:formatCode>General</c:formatCode>
                <c:ptCount val="6"/>
                <c:pt idx="0">
                  <c:v>0.3641390065453054</c:v>
                </c:pt>
                <c:pt idx="1">
                  <c:v>0.25738688513132624</c:v>
                </c:pt>
                <c:pt idx="2">
                  <c:v>0.17818899219815529</c:v>
                </c:pt>
                <c:pt idx="3">
                  <c:v>3.8301168159520747E-2</c:v>
                </c:pt>
                <c:pt idx="4">
                  <c:v>3.5283564328645482E-2</c:v>
                </c:pt>
                <c:pt idx="5">
                  <c:v>5.0695543193319771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Sensitive 1 Handle + 8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Schick Xtreme 3 Sensitive Disposable Razors 8 Pack (1.7%)</c:v>
                </c:pt>
                <c:pt idx="3">
                  <c:v>Gillette Mach 3 1 Handle + 2 Cartridges (2.7%)</c:v>
                </c:pt>
                <c:pt idx="4">
                  <c:v>Schick Xtreme 3 Sensitive Disposable Razors 4 Pack (2.8%)</c:v>
                </c:pt>
                <c:pt idx="5">
                  <c:v>Schick Xtreme 2 Sensitive Disposable Razors 12 Pack (2.7%)</c:v>
                </c:pt>
                <c:pt idx="6">
                  <c:v>Gillette Fusion 5 1 Handle + 2 Cartridges (2.9%)</c:v>
                </c:pt>
                <c:pt idx="7">
                  <c:v>Gillette Fusion 5 1 Handle + 3 Cartridges Holiday Pack (1.7%)</c:v>
                </c:pt>
                <c:pt idx="8">
                  <c:v>Gillette Mach 3 1 Handle + 6 Cartridges (1.7%)</c:v>
                </c:pt>
                <c:pt idx="9">
                  <c:v>None Blades (83.2%)</c:v>
                </c:pt>
              </c:strCache>
            </c:strRef>
          </c:cat>
          <c:val>
            <c:numRef>
              <c:f>Sheet1!$B$2:$B$11</c:f>
              <c:numCache>
                <c:formatCode>General</c:formatCode>
                <c:ptCount val="10"/>
                <c:pt idx="0">
                  <c:v>0.24227034649786527</c:v>
                </c:pt>
                <c:pt idx="1">
                  <c:v>0.17562949440735137</c:v>
                </c:pt>
                <c:pt idx="2">
                  <c:v>5.660310946656797E-2</c:v>
                </c:pt>
                <c:pt idx="3">
                  <c:v>4.2856255935769999E-2</c:v>
                </c:pt>
                <c:pt idx="4">
                  <c:v>3.9529779585086709E-2</c:v>
                </c:pt>
                <c:pt idx="5">
                  <c:v>2.5776313400462721E-2</c:v>
                </c:pt>
                <c:pt idx="6">
                  <c:v>2.5537003198522531E-2</c:v>
                </c:pt>
                <c:pt idx="7">
                  <c:v>2.4194241696340182E-2</c:v>
                </c:pt>
                <c:pt idx="8">
                  <c:v>2.3168571200803609E-2</c:v>
                </c:pt>
                <c:pt idx="9">
                  <c:v>2.056883533040012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Sensitive 1 Handle + 8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Gillette Mach 3 1 Handle + 2 Cartridges (2.7%)</c:v>
                </c:pt>
                <c:pt idx="3">
                  <c:v>Schick Xtreme 3 Sensitive Disposable Razors 8 Pack (1.7%)</c:v>
                </c:pt>
                <c:pt idx="4">
                  <c:v>Gillette Fusion 5 1 Handle + 2 Cartridges (2.9%)</c:v>
                </c:pt>
                <c:pt idx="5">
                  <c:v>Schick Xtreme 3 Sensitive Disposable Razors 4 Pack (2.8%)</c:v>
                </c:pt>
                <c:pt idx="6">
                  <c:v>Gillette Mach 3 1 Handle + 6 Cartridges (1.7%)</c:v>
                </c:pt>
                <c:pt idx="7">
                  <c:v>Gillette Fusion 5 1 Handle + 3 Cartridges Holiday Pack (1.7%)</c:v>
                </c:pt>
                <c:pt idx="8">
                  <c:v>Equate Easy Fit 5 blades 1 Handle + 2 Cartridges (1.1%)</c:v>
                </c:pt>
                <c:pt idx="9">
                  <c:v>Schick Xtreme 2 Sensitive Disposable Razors 12 Pack (2.7%)</c:v>
                </c:pt>
              </c:strCache>
            </c:strRef>
          </c:cat>
          <c:val>
            <c:numRef>
              <c:f>Sheet1!$B$2:$B$11</c:f>
              <c:numCache>
                <c:formatCode>General</c:formatCode>
                <c:ptCount val="10"/>
                <c:pt idx="0">
                  <c:v>0.27139988751604033</c:v>
                </c:pt>
                <c:pt idx="1">
                  <c:v>0.17694873157284099</c:v>
                </c:pt>
                <c:pt idx="2">
                  <c:v>5.0686045197633818E-2</c:v>
                </c:pt>
                <c:pt idx="3">
                  <c:v>4.9475674157273331E-2</c:v>
                </c:pt>
                <c:pt idx="4">
                  <c:v>3.214478701861629E-2</c:v>
                </c:pt>
                <c:pt idx="5">
                  <c:v>3.0508387741300411E-2</c:v>
                </c:pt>
                <c:pt idx="6">
                  <c:v>2.8179619504566083E-2</c:v>
                </c:pt>
                <c:pt idx="7">
                  <c:v>2.8045151530998468E-2</c:v>
                </c:pt>
                <c:pt idx="8">
                  <c:v>1.9399586603080086E-2</c:v>
                </c:pt>
                <c:pt idx="9">
                  <c:v>1.90212034986896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B$2:$B$42</c:f>
              <c:numCache>
                <c:formatCode>General</c:formatCode>
                <c:ptCount val="41"/>
                <c:pt idx="0">
                  <c:v>105.96310786563048</c:v>
                </c:pt>
                <c:pt idx="1">
                  <c:v>105.47549293361563</c:v>
                </c:pt>
                <c:pt idx="2">
                  <c:v>104.99658435896875</c:v>
                </c:pt>
                <c:pt idx="3">
                  <c:v>104.52606883299292</c:v>
                </c:pt>
                <c:pt idx="4">
                  <c:v>104.06364928337268</c:v>
                </c:pt>
                <c:pt idx="5">
                  <c:v>103.60904380147761</c:v>
                </c:pt>
                <c:pt idx="6">
                  <c:v>103.16198465586433</c:v>
                </c:pt>
                <c:pt idx="7">
                  <c:v>102.72221738384832</c:v>
                </c:pt>
                <c:pt idx="8">
                  <c:v>102.28949995388517</c:v>
                </c:pt>
                <c:pt idx="9">
                  <c:v>101.95479855895503</c:v>
                </c:pt>
                <c:pt idx="10">
                  <c:v>101.62270202693556</c:v>
                </c:pt>
                <c:pt idx="11">
                  <c:v>101.29317259245489</c:v>
                </c:pt>
                <c:pt idx="12">
                  <c:v>100.96617334818903</c:v>
                </c:pt>
                <c:pt idx="13">
                  <c:v>100.64166821813299</c:v>
                </c:pt>
                <c:pt idx="14">
                  <c:v>100.31962193189811</c:v>
                </c:pt>
                <c:pt idx="15">
                  <c:v>100</c:v>
                </c:pt>
                <c:pt idx="16">
                  <c:v>99.682768690085524</c:v>
                </c:pt>
                <c:pt idx="17">
                  <c:v>99.367895004064223</c:v>
                </c:pt>
                <c:pt idx="18">
                  <c:v>99.055346656107872</c:v>
                </c:pt>
                <c:pt idx="19">
                  <c:v>98.745092051469229</c:v>
                </c:pt>
                <c:pt idx="20">
                  <c:v>98.437100266096849</c:v>
                </c:pt>
                <c:pt idx="21">
                  <c:v>98.131341027007906</c:v>
                </c:pt>
                <c:pt idx="22">
                  <c:v>97.827784693380408</c:v>
                </c:pt>
                <c:pt idx="23">
                  <c:v>97.526402238342541</c:v>
                </c:pt>
                <c:pt idx="24">
                  <c:v>97.22716523142104</c:v>
                </c:pt>
                <c:pt idx="25">
                  <c:v>96.930045821628013</c:v>
                </c:pt>
                <c:pt idx="26">
                  <c:v>96.597542064929442</c:v>
                </c:pt>
                <c:pt idx="27">
                  <c:v>96.267072008099476</c:v>
                </c:pt>
                <c:pt idx="28">
                  <c:v>95.938616369341133</c:v>
                </c:pt>
                <c:pt idx="29">
                  <c:v>95.612156114582959</c:v>
                </c:pt>
                <c:pt idx="30">
                  <c:v>95.287672453327644</c:v>
                </c:pt>
                <c:pt idx="31">
                  <c:v>94.965146834579784</c:v>
                </c:pt>
                <c:pt idx="32">
                  <c:v>94.644560942867173</c:v>
                </c:pt>
                <c:pt idx="33">
                  <c:v>94.325896694337203</c:v>
                </c:pt>
                <c:pt idx="34">
                  <c:v>94.009136232936712</c:v>
                </c:pt>
                <c:pt idx="35">
                  <c:v>93.694261926673079</c:v>
                </c:pt>
                <c:pt idx="36">
                  <c:v>93.381256363950698</c:v>
                </c:pt>
                <c:pt idx="37">
                  <c:v>93.070102349984481</c:v>
                </c:pt>
                <c:pt idx="38">
                  <c:v>92.760782903289325</c:v>
                </c:pt>
                <c:pt idx="39">
                  <c:v>92.453281252238796</c:v>
                </c:pt>
                <c:pt idx="40">
                  <c:v>92.14758083170025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C$2:$C$42</c:f>
              <c:numCache>
                <c:formatCode>General</c:formatCode>
                <c:ptCount val="41"/>
                <c:pt idx="0">
                  <c:v>90.383341908821535</c:v>
                </c:pt>
                <c:pt idx="1">
                  <c:v>91.004660657857571</c:v>
                </c:pt>
                <c:pt idx="2">
                  <c:v>91.623615703165655</c:v>
                </c:pt>
                <c:pt idx="3">
                  <c:v>92.240195033819234</c:v>
                </c:pt>
                <c:pt idx="4">
                  <c:v>92.854388560577306</c:v>
                </c:pt>
                <c:pt idx="5">
                  <c:v>93.466187958998717</c:v>
                </c:pt>
                <c:pt idx="6">
                  <c:v>94.075586526973979</c:v>
                </c:pt>
                <c:pt idx="7">
                  <c:v>94.682579055193258</c:v>
                </c:pt>
                <c:pt idx="8">
                  <c:v>95.287161709232521</c:v>
                </c:pt>
                <c:pt idx="9">
                  <c:v>95.973492927185461</c:v>
                </c:pt>
                <c:pt idx="10">
                  <c:v>96.65539082543242</c:v>
                </c:pt>
                <c:pt idx="11">
                  <c:v>97.332902451116652</c:v>
                </c:pt>
                <c:pt idx="12">
                  <c:v>98.006074063499142</c:v>
                </c:pt>
                <c:pt idx="13">
                  <c:v>98.67495115345838</c:v>
                </c:pt>
                <c:pt idx="14">
                  <c:v>99.339578462311849</c:v>
                </c:pt>
                <c:pt idx="15">
                  <c:v>100</c:v>
                </c:pt>
                <c:pt idx="16">
                  <c:v>100.65625906265456</c:v>
                </c:pt>
                <c:pt idx="17">
                  <c:v>101.30839824958208</c:v>
                </c:pt>
                <c:pt idx="18">
                  <c:v>101.95645947969503</c:v>
                </c:pt>
                <c:pt idx="19">
                  <c:v>102.60048400739991</c:v>
                </c:pt>
                <c:pt idx="20">
                  <c:v>103.24051243798276</c:v>
                </c:pt>
                <c:pt idx="21">
                  <c:v>103.87658474250394</c:v>
                </c:pt>
                <c:pt idx="22">
                  <c:v>104.50874027222304</c:v>
                </c:pt>
                <c:pt idx="23">
                  <c:v>105.13701777257755</c:v>
                </c:pt>
                <c:pt idx="24">
                  <c:v>105.76145539672761</c:v>
                </c:pt>
                <c:pt idx="25">
                  <c:v>106.3820907186924</c:v>
                </c:pt>
                <c:pt idx="26">
                  <c:v>106.95810169695135</c:v>
                </c:pt>
                <c:pt idx="27">
                  <c:v>107.52965077627795</c:v>
                </c:pt>
                <c:pt idx="28">
                  <c:v>108.09678131797615</c:v>
                </c:pt>
                <c:pt idx="29">
                  <c:v>108.65953610227656</c:v>
                </c:pt>
                <c:pt idx="30">
                  <c:v>109.21795733803891</c:v>
                </c:pt>
                <c:pt idx="31">
                  <c:v>109.772086672247</c:v>
                </c:pt>
                <c:pt idx="32">
                  <c:v>110.32196519931668</c:v>
                </c:pt>
                <c:pt idx="33">
                  <c:v>110.8676334702059</c:v>
                </c:pt>
                <c:pt idx="34">
                  <c:v>111.40913150134195</c:v>
                </c:pt>
                <c:pt idx="35">
                  <c:v>111.94649878337034</c:v>
                </c:pt>
                <c:pt idx="36">
                  <c:v>112.4797742897258</c:v>
                </c:pt>
                <c:pt idx="37">
                  <c:v>113.00899648503355</c:v>
                </c:pt>
                <c:pt idx="38">
                  <c:v>113.53420333334587</c:v>
                </c:pt>
                <c:pt idx="39">
                  <c:v>114.05543230621255</c:v>
                </c:pt>
                <c:pt idx="40">
                  <c:v>114.5727203906004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D$2:$D$42</c:f>
              <c:numCache>
                <c:formatCode>General</c:formatCode>
                <c:ptCount val="41"/>
                <c:pt idx="0">
                  <c:v>69.61385532167661</c:v>
                </c:pt>
                <c:pt idx="1">
                  <c:v>71.705642464618521</c:v>
                </c:pt>
                <c:pt idx="2">
                  <c:v>73.78124492376763</c:v>
                </c:pt>
                <c:pt idx="3">
                  <c:v>75.841032691884962</c:v>
                </c:pt>
                <c:pt idx="4">
                  <c:v>77.88535925330055</c:v>
                </c:pt>
                <c:pt idx="5">
                  <c:v>79.914562613092627</c:v>
                </c:pt>
                <c:pt idx="6">
                  <c:v>81.928966247533268</c:v>
                </c:pt>
                <c:pt idx="7">
                  <c:v>83.928879982959586</c:v>
                </c:pt>
                <c:pt idx="8">
                  <c:v>85.914600809468496</c:v>
                </c:pt>
                <c:pt idx="9">
                  <c:v>87.965096688047822</c:v>
                </c:pt>
                <c:pt idx="10">
                  <c:v>90.002590919145646</c:v>
                </c:pt>
                <c:pt idx="11">
                  <c:v>92.027227904836693</c:v>
                </c:pt>
                <c:pt idx="12">
                  <c:v>94.039149391730817</c:v>
                </c:pt>
                <c:pt idx="13">
                  <c:v>96.038494543581223</c:v>
                </c:pt>
                <c:pt idx="14">
                  <c:v>98.025400011227077</c:v>
                </c:pt>
                <c:pt idx="15">
                  <c:v>100</c:v>
                </c:pt>
                <c:pt idx="16">
                  <c:v>101.96242633470098</c:v>
                </c:pt>
                <c:pt idx="17">
                  <c:v>103.91280852225964</c:v>
                </c:pt>
                <c:pt idx="18">
                  <c:v>105.85127381218496</c:v>
                </c:pt>
                <c:pt idx="19">
                  <c:v>107.77794725488931</c:v>
                </c:pt>
                <c:pt idx="20">
                  <c:v>109.692951757996</c:v>
                </c:pt>
                <c:pt idx="21">
                  <c:v>111.59640814070877</c:v>
                </c:pt>
                <c:pt idx="22">
                  <c:v>113.48843518632452</c:v>
                </c:pt>
                <c:pt idx="23">
                  <c:v>115.36914969297609</c:v>
                </c:pt>
                <c:pt idx="24">
                  <c:v>117.23866652266979</c:v>
                </c:pt>
                <c:pt idx="25">
                  <c:v>119.09709864870092</c:v>
                </c:pt>
                <c:pt idx="26">
                  <c:v>120.89765540692672</c:v>
                </c:pt>
                <c:pt idx="27">
                  <c:v>122.68559583264955</c:v>
                </c:pt>
                <c:pt idx="28">
                  <c:v>124.46103443842682</c:v>
                </c:pt>
                <c:pt idx="29">
                  <c:v>126.2240843000244</c:v>
                </c:pt>
                <c:pt idx="30">
                  <c:v>127.97485707916671</c:v>
                </c:pt>
                <c:pt idx="31">
                  <c:v>129.71346304582673</c:v>
                </c:pt>
                <c:pt idx="32">
                  <c:v>131.44001110008566</c:v>
                </c:pt>
                <c:pt idx="33">
                  <c:v>133.15460879355433</c:v>
                </c:pt>
                <c:pt idx="34">
                  <c:v>134.85736235037695</c:v>
                </c:pt>
                <c:pt idx="35">
                  <c:v>136.54837668783097</c:v>
                </c:pt>
                <c:pt idx="36">
                  <c:v>138.22775543652347</c:v>
                </c:pt>
                <c:pt idx="37">
                  <c:v>139.89560096020247</c:v>
                </c:pt>
                <c:pt idx="38">
                  <c:v>141.55201437519088</c:v>
                </c:pt>
                <c:pt idx="39">
                  <c:v>143.19709556944579</c:v>
                </c:pt>
                <c:pt idx="40">
                  <c:v>144.830943221267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E$2:$E$42</c:f>
              <c:numCache>
                <c:formatCode>General</c:formatCode>
                <c:ptCount val="41"/>
                <c:pt idx="0">
                  <c:v>0.33856309323391515</c:v>
                </c:pt>
                <c:pt idx="1">
                  <c:v>0.34626765825157479</c:v>
                </c:pt>
                <c:pt idx="2">
                  <c:v>0.35379480093146465</c:v>
                </c:pt>
                <c:pt idx="3">
                  <c:v>0.36115058008989981</c:v>
                </c:pt>
                <c:pt idx="4">
                  <c:v>0.36834078177712659</c:v>
                </c:pt>
                <c:pt idx="5">
                  <c:v>0.37537093445629044</c:v>
                </c:pt>
                <c:pt idx="6">
                  <c:v>0.38224632317994162</c:v>
                </c:pt>
                <c:pt idx="7">
                  <c:v>0.38897200284047584</c:v>
                </c:pt>
                <c:pt idx="8">
                  <c:v>0.39555281056432634</c:v>
                </c:pt>
                <c:pt idx="9">
                  <c:v>0.40199337731377421</c:v>
                </c:pt>
                <c:pt idx="10">
                  <c:v>0.40829813875485182</c:v>
                </c:pt>
                <c:pt idx="11">
                  <c:v>0.41447134544494207</c:v>
                </c:pt>
                <c:pt idx="12">
                  <c:v>0.42051707238923797</c:v>
                </c:pt>
                <c:pt idx="13">
                  <c:v>0.4264392280112182</c:v>
                </c:pt>
                <c:pt idx="14">
                  <c:v>0.43224156257863133</c:v>
                </c:pt>
                <c:pt idx="15">
                  <c:v>0.43792767612316175</c:v>
                </c:pt>
                <c:pt idx="16">
                  <c:v>0.4435010258889211</c:v>
                </c:pt>
                <c:pt idx="17">
                  <c:v>0.44896493334214727</c:v>
                </c:pt>
                <c:pt idx="18">
                  <c:v>0.45432259077197579</c:v>
                </c:pt>
                <c:pt idx="19">
                  <c:v>0.45957706750984789</c:v>
                </c:pt>
                <c:pt idx="20">
                  <c:v>0.46473131579301574</c:v>
                </c:pt>
                <c:pt idx="21">
                  <c:v>0.46978817629567965</c:v>
                </c:pt>
                <c:pt idx="22">
                  <c:v>0.47475038334953396</c:v>
                </c:pt>
                <c:pt idx="23">
                  <c:v>0.47962056987387758</c:v>
                </c:pt>
                <c:pt idx="24">
                  <c:v>0.4844012720339706</c:v>
                </c:pt>
                <c:pt idx="25">
                  <c:v>0.48909493364494944</c:v>
                </c:pt>
                <c:pt idx="26">
                  <c:v>0.4937039103373721</c:v>
                </c:pt>
                <c:pt idx="27">
                  <c:v>0.49823047349930888</c:v>
                </c:pt>
                <c:pt idx="28">
                  <c:v>0.50267681400884101</c:v>
                </c:pt>
                <c:pt idx="29">
                  <c:v>0.50704504576985243</c:v>
                </c:pt>
                <c:pt idx="30">
                  <c:v>0.51133720906310576</c:v>
                </c:pt>
                <c:pt idx="31">
                  <c:v>0.51555527372376087</c:v>
                </c:pt>
                <c:pt idx="32">
                  <c:v>0.51970114215573548</c:v>
                </c:pt>
                <c:pt idx="33">
                  <c:v>0.52377665219259817</c:v>
                </c:pt>
                <c:pt idx="34">
                  <c:v>0.52778357981403201</c:v>
                </c:pt>
                <c:pt idx="35">
                  <c:v>0.53172364172630537</c:v>
                </c:pt>
                <c:pt idx="36">
                  <c:v>0.53559849781462709</c:v>
                </c:pt>
                <c:pt idx="37">
                  <c:v>0.53940975347474518</c:v>
                </c:pt>
                <c:pt idx="38">
                  <c:v>0.54315896183066914</c:v>
                </c:pt>
                <c:pt idx="39">
                  <c:v>0.54684762584495528</c:v>
                </c:pt>
                <c:pt idx="40">
                  <c:v>0.5504772003275746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Chrome 1 Handle + 3 Cartridges + Docking Station/Stand + Travel Cover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Gillette Mach 3 1 Handle + 2 Cartridges (2.7%)</c:v>
                </c:pt>
                <c:pt idx="3">
                  <c:v>Schick Xtreme 3 Sensitive Disposable Razors 8 Pack (1.7%)</c:v>
                </c:pt>
                <c:pt idx="4">
                  <c:v>Schick Xtreme 3 Sensitive Disposable Razors 4 Pack (2.8%)</c:v>
                </c:pt>
                <c:pt idx="5">
                  <c:v>Gillette Fusion 5 1 Handle + 2 Cartridges (2.9%)</c:v>
                </c:pt>
                <c:pt idx="6">
                  <c:v>Gillette Mach 3 1 Handle + 6 Cartridges (1.7%)</c:v>
                </c:pt>
                <c:pt idx="7">
                  <c:v>None Blades (83.2%)</c:v>
                </c:pt>
                <c:pt idx="8">
                  <c:v>Gillette Fusion 5 1 Handle + 3 Cartridges Holiday Pack (1.7%)</c:v>
                </c:pt>
                <c:pt idx="9">
                  <c:v>Harry's 5 Blade 1 Handle + 2 Cartridges (3.9%)</c:v>
                </c:pt>
              </c:strCache>
            </c:strRef>
          </c:cat>
          <c:val>
            <c:numRef>
              <c:f>Sheet1!$B$2:$B$11</c:f>
              <c:numCache>
                <c:formatCode>General</c:formatCode>
                <c:ptCount val="10"/>
                <c:pt idx="0">
                  <c:v>0.17723626907142126</c:v>
                </c:pt>
                <c:pt idx="1">
                  <c:v>0.122521469584596</c:v>
                </c:pt>
                <c:pt idx="2">
                  <c:v>6.813532713331065E-2</c:v>
                </c:pt>
                <c:pt idx="3">
                  <c:v>5.0591902301665992E-2</c:v>
                </c:pt>
                <c:pt idx="4">
                  <c:v>3.9583812946179429E-2</c:v>
                </c:pt>
                <c:pt idx="5">
                  <c:v>3.4253124220343593E-2</c:v>
                </c:pt>
                <c:pt idx="6">
                  <c:v>3.2109308711580048E-2</c:v>
                </c:pt>
                <c:pt idx="7">
                  <c:v>2.5991512752997038E-2</c:v>
                </c:pt>
                <c:pt idx="8">
                  <c:v>2.5238030860692685E-2</c:v>
                </c:pt>
                <c:pt idx="9">
                  <c:v>2.078878801663018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Chrome 1 Handle + 3 Cartridges + Docking Station/Stand + Travel Cover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Gillette Mach 3 1 Handle + 2 Cartridges (2.7%)</c:v>
                </c:pt>
                <c:pt idx="3">
                  <c:v>Schick Xtreme 3 Sensitive Disposable Razors 8 Pack (1.7%)</c:v>
                </c:pt>
                <c:pt idx="4">
                  <c:v>Gillette Fusion 5 1 Handle + 2 Cartridges (2.9%)</c:v>
                </c:pt>
                <c:pt idx="5">
                  <c:v>Gillette Mach 3 1 Handle + 6 Cartridges (1.7%)</c:v>
                </c:pt>
                <c:pt idx="6">
                  <c:v>Schick Xtreme 3 Sensitive Disposable Razors 4 Pack (2.8%)</c:v>
                </c:pt>
                <c:pt idx="7">
                  <c:v>Gillette Fusion 5 1 Handle + 3 Cartridges Holiday Pack (1.7%)</c:v>
                </c:pt>
                <c:pt idx="8">
                  <c:v>Gillette Mach 3 Blade Refills 4 Pack (1.3%)</c:v>
                </c:pt>
                <c:pt idx="9">
                  <c:v>Harry's 5 Blade 1 Handle + 2 Cartridges (3.9%)</c:v>
                </c:pt>
              </c:strCache>
            </c:strRef>
          </c:cat>
          <c:val>
            <c:numRef>
              <c:f>Sheet1!$B$2:$B$11</c:f>
              <c:numCache>
                <c:formatCode>General</c:formatCode>
                <c:ptCount val="10"/>
                <c:pt idx="0">
                  <c:v>0.19639061684252085</c:v>
                </c:pt>
                <c:pt idx="1">
                  <c:v>0.12156336640814712</c:v>
                </c:pt>
                <c:pt idx="2">
                  <c:v>7.8225325358664458E-2</c:v>
                </c:pt>
                <c:pt idx="3">
                  <c:v>4.280170873046036E-2</c:v>
                </c:pt>
                <c:pt idx="4">
                  <c:v>4.249069683983981E-2</c:v>
                </c:pt>
                <c:pt idx="5">
                  <c:v>3.8877553640305464E-2</c:v>
                </c:pt>
                <c:pt idx="6">
                  <c:v>3.1088179221792862E-2</c:v>
                </c:pt>
                <c:pt idx="7">
                  <c:v>2.9350076953330303E-2</c:v>
                </c:pt>
                <c:pt idx="8">
                  <c:v>2.430770893566751E-2</c:v>
                </c:pt>
                <c:pt idx="9">
                  <c:v>2.402511613780737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B$2:$B$32</c:f>
              <c:numCache>
                <c:formatCode>General</c:formatCode>
                <c:ptCount val="31"/>
                <c:pt idx="0">
                  <c:v>120.25461564197926</c:v>
                </c:pt>
                <c:pt idx="1">
                  <c:v>116.49156445272857</c:v>
                </c:pt>
                <c:pt idx="2">
                  <c:v>113.04378626608795</c:v>
                </c:pt>
                <c:pt idx="3">
                  <c:v>109.87101743027733</c:v>
                </c:pt>
                <c:pt idx="4">
                  <c:v>106.93914726054174</c:v>
                </c:pt>
                <c:pt idx="5">
                  <c:v>105.15056146954673</c:v>
                </c:pt>
                <c:pt idx="6">
                  <c:v>104.35881469047708</c:v>
                </c:pt>
                <c:pt idx="7">
                  <c:v>103.58724006178677</c:v>
                </c:pt>
                <c:pt idx="8">
                  <c:v>102.83486445769978</c:v>
                </c:pt>
                <c:pt idx="9">
                  <c:v>102.10077790937468</c:v>
                </c:pt>
                <c:pt idx="10">
                  <c:v>101.38412868323736</c:v>
                </c:pt>
                <c:pt idx="11">
                  <c:v>100.68411880762287</c:v>
                </c:pt>
                <c:pt idx="12">
                  <c:v>100</c:v>
                </c:pt>
                <c:pt idx="13">
                  <c:v>98.969021855133164</c:v>
                </c:pt>
                <c:pt idx="14">
                  <c:v>97.969307069073224</c:v>
                </c:pt>
                <c:pt idx="15">
                  <c:v>96.999027016803424</c:v>
                </c:pt>
                <c:pt idx="16">
                  <c:v>96.056509917115477</c:v>
                </c:pt>
                <c:pt idx="17">
                  <c:v>95.140223283048783</c:v>
                </c:pt>
                <c:pt idx="18">
                  <c:v>94.637584434911034</c:v>
                </c:pt>
                <c:pt idx="19">
                  <c:v>94.143424976853822</c:v>
                </c:pt>
                <c:pt idx="20">
                  <c:v>93.657464876822985</c:v>
                </c:pt>
                <c:pt idx="21">
                  <c:v>93.179437646307022</c:v>
                </c:pt>
                <c:pt idx="22">
                  <c:v>92.709089497594576</c:v>
                </c:pt>
                <c:pt idx="23">
                  <c:v>92.246178564848961</c:v>
                </c:pt>
                <c:pt idx="24">
                  <c:v>91.790474183343647</c:v>
                </c:pt>
                <c:pt idx="25">
                  <c:v>91.341756221745101</c:v>
                </c:pt>
                <c:pt idx="26">
                  <c:v>90.89981446285995</c:v>
                </c:pt>
                <c:pt idx="27">
                  <c:v>90.464448028693937</c:v>
                </c:pt>
                <c:pt idx="28">
                  <c:v>90.035464846092125</c:v>
                </c:pt>
                <c:pt idx="29">
                  <c:v>89.61268114957295</c:v>
                </c:pt>
                <c:pt idx="30">
                  <c:v>89.19592101830403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C$2:$C$32</c:f>
              <c:numCache>
                <c:formatCode>General</c:formatCode>
                <c:ptCount val="31"/>
                <c:pt idx="0">
                  <c:v>101.07844191265202</c:v>
                </c:pt>
                <c:pt idx="1">
                  <c:v>99.46842464200374</c:v>
                </c:pt>
                <c:pt idx="2">
                  <c:v>98.031164113028012</c:v>
                </c:pt>
                <c:pt idx="3">
                  <c:v>96.743874812961849</c:v>
                </c:pt>
                <c:pt idx="4">
                  <c:v>95.587113826586872</c:v>
                </c:pt>
                <c:pt idx="5">
                  <c:v>95.38658910662663</c:v>
                </c:pt>
                <c:pt idx="6">
                  <c:v>96.053274277865469</c:v>
                </c:pt>
                <c:pt idx="7">
                  <c:v>96.71759054249668</c:v>
                </c:pt>
                <c:pt idx="8">
                  <c:v>97.379425559874932</c:v>
                </c:pt>
                <c:pt idx="9">
                  <c:v>98.038675719926545</c:v>
                </c:pt>
                <c:pt idx="10">
                  <c:v>98.695245559798437</c:v>
                </c:pt>
                <c:pt idx="11">
                  <c:v>99.349047229409805</c:v>
                </c:pt>
                <c:pt idx="12">
                  <c:v>100</c:v>
                </c:pt>
                <c:pt idx="13">
                  <c:v>100.28255066696674</c:v>
                </c:pt>
                <c:pt idx="14">
                  <c:v>100.56971167208988</c:v>
                </c:pt>
                <c:pt idx="15">
                  <c:v>100.8608325324454</c:v>
                </c:pt>
                <c:pt idx="16">
                  <c:v>101.15533042158778</c:v>
                </c:pt>
                <c:pt idx="17">
                  <c:v>101.45268190942991</c:v>
                </c:pt>
                <c:pt idx="18">
                  <c:v>102.17039997070476</c:v>
                </c:pt>
                <c:pt idx="19">
                  <c:v>102.88390517542058</c:v>
                </c:pt>
                <c:pt idx="20">
                  <c:v>103.59322875714183</c:v>
                </c:pt>
                <c:pt idx="21">
                  <c:v>104.29840213985769</c:v>
                </c:pt>
                <c:pt idx="22">
                  <c:v>104.99945688690184</c:v>
                </c:pt>
                <c:pt idx="23">
                  <c:v>105.69642465559457</c:v>
                </c:pt>
                <c:pt idx="24">
                  <c:v>106.38933715700125</c:v>
                </c:pt>
                <c:pt idx="25">
                  <c:v>107.07822612023836</c:v>
                </c:pt>
                <c:pt idx="26">
                  <c:v>107.76312326084032</c:v>
                </c:pt>
                <c:pt idx="27">
                  <c:v>108.4440602527267</c:v>
                </c:pt>
                <c:pt idx="28">
                  <c:v>109.12106870338263</c:v>
                </c:pt>
                <c:pt idx="29">
                  <c:v>109.79418013188416</c:v>
                </c:pt>
                <c:pt idx="30">
                  <c:v>110.4634259494575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D$2:$D$32</c:f>
              <c:numCache>
                <c:formatCode>General</c:formatCode>
                <c:ptCount val="31"/>
                <c:pt idx="0">
                  <c:v>83.256707383751831</c:v>
                </c:pt>
                <c:pt idx="1">
                  <c:v>83.638087889563849</c:v>
                </c:pt>
                <c:pt idx="2">
                  <c:v>84.06095117137572</c:v>
                </c:pt>
                <c:pt idx="3">
                  <c:v>84.518573775063913</c:v>
                </c:pt>
                <c:pt idx="4">
                  <c:v>85.004993972887959</c:v>
                </c:pt>
                <c:pt idx="5">
                  <c:v>86.279175091790876</c:v>
                </c:pt>
                <c:pt idx="6">
                  <c:v>88.305136288016726</c:v>
                </c:pt>
                <c:pt idx="7">
                  <c:v>90.308085161754079</c:v>
                </c:pt>
                <c:pt idx="8">
                  <c:v>92.288699942123188</c:v>
                </c:pt>
                <c:pt idx="9">
                  <c:v>94.247617359115537</c:v>
                </c:pt>
                <c:pt idx="10">
                  <c:v>96.185436070569835</c:v>
                </c:pt>
                <c:pt idx="11">
                  <c:v>98.102719768856616</c:v>
                </c:pt>
                <c:pt idx="12">
                  <c:v>100</c:v>
                </c:pt>
                <c:pt idx="13">
                  <c:v>101.5064482229659</c:v>
                </c:pt>
                <c:pt idx="14">
                  <c:v>102.99289724579035</c:v>
                </c:pt>
                <c:pt idx="15">
                  <c:v>104.45978243884349</c:v>
                </c:pt>
                <c:pt idx="16">
                  <c:v>105.90752456783932</c:v>
                </c:pt>
                <c:pt idx="17">
                  <c:v>107.3365301008164</c:v>
                </c:pt>
                <c:pt idx="18">
                  <c:v>109.19583090225406</c:v>
                </c:pt>
                <c:pt idx="19">
                  <c:v>111.0393589864692</c:v>
                </c:pt>
                <c:pt idx="20">
                  <c:v>112.86742908325415</c:v>
                </c:pt>
                <c:pt idx="21">
                  <c:v>114.68034387256967</c:v>
                </c:pt>
                <c:pt idx="22">
                  <c:v>116.47839466192234</c:v>
                </c:pt>
                <c:pt idx="23">
                  <c:v>118.26186201591602</c:v>
                </c:pt>
                <c:pt idx="24">
                  <c:v>120.03101634203492</c:v>
                </c:pt>
                <c:pt idx="25">
                  <c:v>121.78611843627871</c:v>
                </c:pt>
                <c:pt idx="26">
                  <c:v>123.52741999194214</c:v>
                </c:pt>
                <c:pt idx="27">
                  <c:v>125.25516407448605</c:v>
                </c:pt>
                <c:pt idx="28">
                  <c:v>126.96958556519414</c:v>
                </c:pt>
                <c:pt idx="29">
                  <c:v>128.6709115760321</c:v>
                </c:pt>
                <c:pt idx="30">
                  <c:v>130.3593618379255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E$2:$E$32</c:f>
              <c:numCache>
                <c:formatCode>General</c:formatCode>
                <c:ptCount val="31"/>
                <c:pt idx="0">
                  <c:v>0.42965317395621389</c:v>
                </c:pt>
                <c:pt idx="1">
                  <c:v>0.43858577890599915</c:v>
                </c:pt>
                <c:pt idx="2">
                  <c:v>0.44724289873782641</c:v>
                </c:pt>
                <c:pt idx="3">
                  <c:v>0.4556370840265459</c:v>
                </c:pt>
                <c:pt idx="4">
                  <c:v>0.46378013437768212</c:v>
                </c:pt>
                <c:pt idx="5">
                  <c:v>0.47168315376784142</c:v>
                </c:pt>
                <c:pt idx="6">
                  <c:v>0.47935660106242617</c:v>
                </c:pt>
                <c:pt idx="7">
                  <c:v>0.48681033619395914</c:v>
                </c:pt>
                <c:pt idx="8">
                  <c:v>0.49405366242975357</c:v>
                </c:pt>
                <c:pt idx="9">
                  <c:v>0.50109536510992425</c:v>
                </c:pt>
                <c:pt idx="10">
                  <c:v>0.50794374719489421</c:v>
                </c:pt>
                <c:pt idx="11">
                  <c:v>0.5146066619248213</c:v>
                </c:pt>
                <c:pt idx="12">
                  <c:v>0.52109154286102943</c:v>
                </c:pt>
                <c:pt idx="13">
                  <c:v>0.52740543155106179</c:v>
                </c:pt>
                <c:pt idx="14">
                  <c:v>0.53355500303380676</c:v>
                </c:pt>
                <c:pt idx="15">
                  <c:v>0.53954658937890865</c:v>
                </c:pt>
                <c:pt idx="16">
                  <c:v>0.54538620143497829</c:v>
                </c:pt>
                <c:pt idx="17">
                  <c:v>0.55107954894361999</c:v>
                </c:pt>
                <c:pt idx="18">
                  <c:v>0.55663205916076741</c:v>
                </c:pt>
                <c:pt idx="19">
                  <c:v>0.56204889411298775</c:v>
                </c:pt>
                <c:pt idx="20">
                  <c:v>0.56733496660408012</c:v>
                </c:pt>
                <c:pt idx="21">
                  <c:v>0.57249495507630344</c:v>
                </c:pt>
                <c:pt idx="22">
                  <c:v>0.57753331742071934</c:v>
                </c:pt>
                <c:pt idx="23">
                  <c:v>0.58245430382234187</c:v>
                </c:pt>
                <c:pt idx="24">
                  <c:v>0.58726196871788194</c:v>
                </c:pt>
                <c:pt idx="25">
                  <c:v>0.59196018193680178</c:v>
                </c:pt>
                <c:pt idx="26">
                  <c:v>0.59655263909001732</c:v>
                </c:pt>
                <c:pt idx="27">
                  <c:v>0.601042871264864</c:v>
                </c:pt>
                <c:pt idx="28">
                  <c:v>0.60543425407978035</c:v>
                </c:pt>
                <c:pt idx="29">
                  <c:v>0.60973001614750189</c:v>
                </c:pt>
                <c:pt idx="30">
                  <c:v>0.6139332469913628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Groomer 1 Handle + 1 Cartridge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Gillette Mach 3 1 Handle + 2 Cartridges (2.7%)</c:v>
                </c:pt>
                <c:pt idx="3">
                  <c:v>Schick Xtreme 3 Sensitive Disposable Razors 4 Pack (2.8%)</c:v>
                </c:pt>
                <c:pt idx="4">
                  <c:v>Harry's 5 Blade 1 Handle + 2 Cartridges (3.9%)</c:v>
                </c:pt>
                <c:pt idx="5">
                  <c:v>Dollar Shave Club 6 1 Handle + 2 Blades (2.0%)</c:v>
                </c:pt>
                <c:pt idx="6">
                  <c:v>Equate 2 Blade Disposable Razors 12 Pack (5.7%)</c:v>
                </c:pt>
                <c:pt idx="7">
                  <c:v>Equate 2 Blade Disposable Razors 5 Pack (5.5%)</c:v>
                </c:pt>
                <c:pt idx="8">
                  <c:v>Equate Easy Fit 5 blades 1 Handle + 2 Cartridges (1.1%)</c:v>
                </c:pt>
                <c:pt idx="9">
                  <c:v>Schick Xtreme 3 Sensitive Disposable Razors 8 Pack (1.7%)</c:v>
                </c:pt>
              </c:strCache>
            </c:strRef>
          </c:cat>
          <c:val>
            <c:numRef>
              <c:f>Sheet1!$B$2:$B$11</c:f>
              <c:numCache>
                <c:formatCode>General</c:formatCode>
                <c:ptCount val="10"/>
                <c:pt idx="0">
                  <c:v>0.19459225970129354</c:v>
                </c:pt>
                <c:pt idx="1">
                  <c:v>0.17041323584690524</c:v>
                </c:pt>
                <c:pt idx="2">
                  <c:v>3.9252690506220524E-2</c:v>
                </c:pt>
                <c:pt idx="3">
                  <c:v>3.854747509825162E-2</c:v>
                </c:pt>
                <c:pt idx="4">
                  <c:v>3.4234971131558135E-2</c:v>
                </c:pt>
                <c:pt idx="5">
                  <c:v>3.2356500118168624E-2</c:v>
                </c:pt>
                <c:pt idx="6">
                  <c:v>3.0360887398844665E-2</c:v>
                </c:pt>
                <c:pt idx="7">
                  <c:v>2.9679874606835056E-2</c:v>
                </c:pt>
                <c:pt idx="8">
                  <c:v>2.6796291771588394E-2</c:v>
                </c:pt>
                <c:pt idx="9">
                  <c:v>2.65144970510027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Groomer 1 Handle + 1 Cartridge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Razors (12.2%)</c:v>
                </c:pt>
                <c:pt idx="1">
                  <c:v>Schick Hydro 5 Blade Sensitive 1 Handle + 3 Cartridges (2.0%)</c:v>
                </c:pt>
                <c:pt idx="2">
                  <c:v>Harry's 5 Blade 1 Handle + 2 Cartridges (3.9%)</c:v>
                </c:pt>
                <c:pt idx="3">
                  <c:v>Gillette Mach 3 1 Handle + 2 Cartridges (2.7%)</c:v>
                </c:pt>
                <c:pt idx="4">
                  <c:v>Dollar Shave Club 6 1 Handle + 2 Blades (2.0%)</c:v>
                </c:pt>
                <c:pt idx="5">
                  <c:v>Schick Xtreme 3 Sensitive Disposable Razors 4 Pack (2.8%)</c:v>
                </c:pt>
                <c:pt idx="6">
                  <c:v>Harry's 5 Blade 1 Handle + 5 Cartridges (2.3%)</c:v>
                </c:pt>
                <c:pt idx="7">
                  <c:v>Equate Easy Fit 5 blades 1 Handle + 2 Cartridges (1.1%)</c:v>
                </c:pt>
                <c:pt idx="8">
                  <c:v>Schick Xtreme 3 Sensitive Disposable Razors 8 Pack (1.7%)</c:v>
                </c:pt>
                <c:pt idx="9">
                  <c:v>Gillette Fusion 5 1 Handle + 2 Cartridges (2.9%)</c:v>
                </c:pt>
              </c:strCache>
            </c:strRef>
          </c:cat>
          <c:val>
            <c:numRef>
              <c:f>Sheet1!$B$2:$B$11</c:f>
              <c:numCache>
                <c:formatCode>General</c:formatCode>
                <c:ptCount val="10"/>
                <c:pt idx="0">
                  <c:v>0.17681944533657629</c:v>
                </c:pt>
                <c:pt idx="1">
                  <c:v>0.17262644326558896</c:v>
                </c:pt>
                <c:pt idx="2">
                  <c:v>6.1417362425488058E-2</c:v>
                </c:pt>
                <c:pt idx="3">
                  <c:v>3.6431625561711055E-2</c:v>
                </c:pt>
                <c:pt idx="4">
                  <c:v>3.4510196270422948E-2</c:v>
                </c:pt>
                <c:pt idx="5">
                  <c:v>3.2524193251473842E-2</c:v>
                </c:pt>
                <c:pt idx="6">
                  <c:v>2.9241611812056832E-2</c:v>
                </c:pt>
                <c:pt idx="7">
                  <c:v>2.7605136652933671E-2</c:v>
                </c:pt>
                <c:pt idx="8">
                  <c:v>2.7028246382027485E-2</c:v>
                </c:pt>
                <c:pt idx="9">
                  <c:v>2.636963716987087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B$2:$B$32</c:f>
              <c:numCache>
                <c:formatCode>General</c:formatCode>
                <c:ptCount val="31"/>
                <c:pt idx="0">
                  <c:v>120.7764124374506</c:v>
                </c:pt>
                <c:pt idx="1">
                  <c:v>117.17766262953057</c:v>
                </c:pt>
                <c:pt idx="2">
                  <c:v>113.87833523928228</c:v>
                </c:pt>
                <c:pt idx="3">
                  <c:v>110.83791207802768</c:v>
                </c:pt>
                <c:pt idx="4">
                  <c:v>108.02272165937812</c:v>
                </c:pt>
                <c:pt idx="5">
                  <c:v>106.19696248862962</c:v>
                </c:pt>
                <c:pt idx="6">
                  <c:v>105.23242267899717</c:v>
                </c:pt>
                <c:pt idx="7">
                  <c:v>104.29679131255898</c:v>
                </c:pt>
                <c:pt idx="8">
                  <c:v>103.3884598164363</c:v>
                </c:pt>
                <c:pt idx="9">
                  <c:v>102.50594154573822</c:v>
                </c:pt>
                <c:pt idx="10">
                  <c:v>101.64786050158632</c:v>
                </c:pt>
                <c:pt idx="11">
                  <c:v>100.81294126523443</c:v>
                </c:pt>
                <c:pt idx="12">
                  <c:v>100</c:v>
                </c:pt>
                <c:pt idx="13">
                  <c:v>98.539519748764519</c:v>
                </c:pt>
                <c:pt idx="14">
                  <c:v>97.137996529341407</c:v>
                </c:pt>
                <c:pt idx="15">
                  <c:v>95.791249408943031</c:v>
                </c:pt>
                <c:pt idx="16">
                  <c:v>94.495507787355237</c:v>
                </c:pt>
                <c:pt idx="17">
                  <c:v>93.247361090923704</c:v>
                </c:pt>
                <c:pt idx="18">
                  <c:v>92.592614178250415</c:v>
                </c:pt>
                <c:pt idx="19">
                  <c:v>91.951264999779525</c:v>
                </c:pt>
                <c:pt idx="20">
                  <c:v>91.322788756771104</c:v>
                </c:pt>
                <c:pt idx="21">
                  <c:v>90.706690395282507</c:v>
                </c:pt>
                <c:pt idx="22">
                  <c:v>90.102502470628025</c:v>
                </c:pt>
                <c:pt idx="23">
                  <c:v>89.509783193089476</c:v>
                </c:pt>
                <c:pt idx="24">
                  <c:v>88.928114637472831</c:v>
                </c:pt>
                <c:pt idx="25">
                  <c:v>88.35710110093315</c:v>
                </c:pt>
                <c:pt idx="26">
                  <c:v>87.796367595118767</c:v>
                </c:pt>
                <c:pt idx="27">
                  <c:v>87.245558460131818</c:v>
                </c:pt>
                <c:pt idx="28">
                  <c:v>86.704336089084663</c:v>
                </c:pt>
                <c:pt idx="29">
                  <c:v>86.172379753174241</c:v>
                </c:pt>
                <c:pt idx="30">
                  <c:v>85.64938451821018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C$2:$C$32</c:f>
              <c:numCache>
                <c:formatCode>General</c:formatCode>
                <c:ptCount val="31"/>
                <c:pt idx="0">
                  <c:v>101.49568898854284</c:v>
                </c:pt>
                <c:pt idx="1">
                  <c:v>100.03367193030988</c:v>
                </c:pt>
                <c:pt idx="2">
                  <c:v>98.7350504796389</c:v>
                </c:pt>
                <c:pt idx="3">
                  <c:v>97.57618020222489</c:v>
                </c:pt>
                <c:pt idx="4">
                  <c:v>96.537364994178503</c:v>
                </c:pt>
                <c:pt idx="5">
                  <c:v>96.319095499506133</c:v>
                </c:pt>
                <c:pt idx="6">
                  <c:v>96.842995169760144</c:v>
                </c:pt>
                <c:pt idx="7">
                  <c:v>97.368101685485726</c:v>
                </c:pt>
                <c:pt idx="8">
                  <c:v>97.894050096863793</c:v>
                </c:pt>
                <c:pt idx="9">
                  <c:v>98.420506718194005</c:v>
                </c:pt>
                <c:pt idx="10">
                  <c:v>98.947166270874362</c:v>
                </c:pt>
                <c:pt idx="11">
                  <c:v>99.473749324327187</c:v>
                </c:pt>
                <c:pt idx="12">
                  <c:v>100</c:v>
                </c:pt>
                <c:pt idx="13">
                  <c:v>99.850286005966126</c:v>
                </c:pt>
                <c:pt idx="14">
                  <c:v>99.722165913309681</c:v>
                </c:pt>
                <c:pt idx="15">
                  <c:v>99.6136512325631</c:v>
                </c:pt>
                <c:pt idx="16">
                  <c:v>99.522962459996663</c:v>
                </c:pt>
                <c:pt idx="17">
                  <c:v>99.448502819298682</c:v>
                </c:pt>
                <c:pt idx="18">
                  <c:v>99.979668218058904</c:v>
                </c:pt>
                <c:pt idx="19">
                  <c:v>100.50799035897914</c:v>
                </c:pt>
                <c:pt idx="20">
                  <c:v>101.03342556921542</c:v>
                </c:pt>
                <c:pt idx="21">
                  <c:v>101.55593547902433</c:v>
                </c:pt>
                <c:pt idx="22">
                  <c:v>102.07548658407637</c:v>
                </c:pt>
                <c:pt idx="23">
                  <c:v>102.59204984488225</c:v>
                </c:pt>
                <c:pt idx="24">
                  <c:v>103.10560032004355</c:v>
                </c:pt>
                <c:pt idx="25">
                  <c:v>103.61611683032635</c:v>
                </c:pt>
                <c:pt idx="26">
                  <c:v>104.12358165083128</c:v>
                </c:pt>
                <c:pt idx="27">
                  <c:v>104.62798022878093</c:v>
                </c:pt>
                <c:pt idx="28">
                  <c:v>105.12930092467118</c:v>
                </c:pt>
                <c:pt idx="29">
                  <c:v>105.62753477473615</c:v>
                </c:pt>
                <c:pt idx="30">
                  <c:v>106.1226752728639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D$2:$D$32</c:f>
              <c:numCache>
                <c:formatCode>General</c:formatCode>
                <c:ptCount val="31"/>
                <c:pt idx="0">
                  <c:v>91.869678151496103</c:v>
                </c:pt>
                <c:pt idx="1">
                  <c:v>91.469373524108804</c:v>
                </c:pt>
                <c:pt idx="2">
                  <c:v>91.165216625761516</c:v>
                </c:pt>
                <c:pt idx="3">
                  <c:v>90.941878519474727</c:v>
                </c:pt>
                <c:pt idx="4">
                  <c:v>90.786551953529099</c:v>
                </c:pt>
                <c:pt idx="5">
                  <c:v>91.370218312644596</c:v>
                </c:pt>
                <c:pt idx="6">
                  <c:v>92.639211723073032</c:v>
                </c:pt>
                <c:pt idx="7">
                  <c:v>93.895755035051963</c:v>
                </c:pt>
                <c:pt idx="8">
                  <c:v>95.140097751270005</c:v>
                </c:pt>
                <c:pt idx="9">
                  <c:v>96.372475674393513</c:v>
                </c:pt>
                <c:pt idx="10">
                  <c:v>97.593112234443154</c:v>
                </c:pt>
                <c:pt idx="11">
                  <c:v>98.802219657894582</c:v>
                </c:pt>
                <c:pt idx="12">
                  <c:v>100</c:v>
                </c:pt>
                <c:pt idx="13">
                  <c:v>100.50489779496641</c:v>
                </c:pt>
                <c:pt idx="14">
                  <c:v>101.01284565216137</c:v>
                </c:pt>
                <c:pt idx="15">
                  <c:v>101.5229401788978</c:v>
                </c:pt>
                <c:pt idx="16">
                  <c:v>102.03438749545522</c:v>
                </c:pt>
                <c:pt idx="17">
                  <c:v>102.54648883284985</c:v>
                </c:pt>
                <c:pt idx="18">
                  <c:v>103.67321361350344</c:v>
                </c:pt>
                <c:pt idx="19">
                  <c:v>104.78908870830517</c:v>
                </c:pt>
                <c:pt idx="20">
                  <c:v>105.89430723773003</c:v>
                </c:pt>
                <c:pt idx="21">
                  <c:v>106.98905553781009</c:v>
                </c:pt>
                <c:pt idx="22">
                  <c:v>108.0735135649707</c:v>
                </c:pt>
                <c:pt idx="23">
                  <c:v>109.14785526632132</c:v>
                </c:pt>
                <c:pt idx="24">
                  <c:v>110.21224891913678</c:v>
                </c:pt>
                <c:pt idx="25">
                  <c:v>111.26685744278824</c:v>
                </c:pt>
                <c:pt idx="26">
                  <c:v>112.31183868597876</c:v>
                </c:pt>
                <c:pt idx="27">
                  <c:v>113.3473456917949</c:v>
                </c:pt>
                <c:pt idx="28">
                  <c:v>114.37352694277934</c:v>
                </c:pt>
                <c:pt idx="29">
                  <c:v>115.39052658797</c:v>
                </c:pt>
                <c:pt idx="30">
                  <c:v>116.398484653623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E$2:$E$32</c:f>
              <c:numCache>
                <c:formatCode>General</c:formatCode>
                <c:ptCount val="31"/>
                <c:pt idx="0">
                  <c:v>0.60680496909613857</c:v>
                </c:pt>
                <c:pt idx="1">
                  <c:v>0.61296307451358345</c:v>
                </c:pt>
                <c:pt idx="2">
                  <c:v>0.61893126149101485</c:v>
                </c:pt>
                <c:pt idx="3">
                  <c:v>0.62471818234916188</c:v>
                </c:pt>
                <c:pt idx="4">
                  <c:v>0.6303319716932283</c:v>
                </c:pt>
                <c:pt idx="5">
                  <c:v>0.63578028456436708</c:v>
                </c:pt>
                <c:pt idx="6">
                  <c:v>0.64107033126640967</c:v>
                </c:pt>
                <c:pt idx="7">
                  <c:v>0.64620890920103524</c:v>
                </c:pt>
                <c:pt idx="8">
                  <c:v>0.6512024320069485</c:v>
                </c:pt>
                <c:pt idx="9">
                  <c:v>0.65605695626572447</c:v>
                </c:pt>
                <c:pt idx="10">
                  <c:v>0.66077820600813053</c:v>
                </c:pt>
                <c:pt idx="11">
                  <c:v>0.66537159522941514</c:v>
                </c:pt>
                <c:pt idx="12">
                  <c:v>0.66984224859976371</c:v>
                </c:pt>
                <c:pt idx="13">
                  <c:v>0.67419502053648395</c:v>
                </c:pt>
                <c:pt idx="14">
                  <c:v>0.67843451278714773</c:v>
                </c:pt>
                <c:pt idx="15">
                  <c:v>0.6825650906575762</c:v>
                </c:pt>
                <c:pt idx="16">
                  <c:v>0.6865908980049753</c:v>
                </c:pt>
                <c:pt idx="17">
                  <c:v>0.69051587110447477</c:v>
                </c:pt>
                <c:pt idx="18">
                  <c:v>0.69434375148660865</c:v>
                </c:pt>
                <c:pt idx="19">
                  <c:v>0.69807809783374841</c:v>
                </c:pt>
                <c:pt idx="20">
                  <c:v>0.70172229701499478</c:v>
                </c:pt>
                <c:pt idx="21">
                  <c:v>0.70527957433145261</c:v>
                </c:pt>
                <c:pt idx="22">
                  <c:v>0.7087530030370337</c:v>
                </c:pt>
                <c:pt idx="23">
                  <c:v>0.71214551319385333</c:v>
                </c:pt>
                <c:pt idx="24">
                  <c:v>0.71545989991585845</c:v>
                </c:pt>
                <c:pt idx="25">
                  <c:v>0.71869883104942878</c:v>
                </c:pt>
                <c:pt idx="26">
                  <c:v>0.72186485433531022</c:v>
                </c:pt>
                <c:pt idx="27">
                  <c:v>0.72496040409229057</c:v>
                </c:pt>
                <c:pt idx="28">
                  <c:v>0.72798780745946401</c:v>
                </c:pt>
                <c:pt idx="29">
                  <c:v>0.73094929023072741</c:v>
                </c:pt>
                <c:pt idx="30">
                  <c:v>0.7338469823122487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Wilkinson Sword Classic Double Edge 1 Handle + 5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1 Handle + 3 Cartridges (2.0%)</c:v>
                </c:pt>
                <c:pt idx="2">
                  <c:v>None Razors (12.2%)</c:v>
                </c:pt>
                <c:pt idx="3">
                  <c:v>Schick Xtreme 2 Sensitive Disposable Razors 12 Pack (2.7%)</c:v>
                </c:pt>
                <c:pt idx="4">
                  <c:v>Gillette Mach 3 1 Handle + 2 Cartridges (2.7%)</c:v>
                </c:pt>
                <c:pt idx="5">
                  <c:v>Schick Xtreme 3 Sensitive Disposable Razors 4 Pack (2.8%)</c:v>
                </c:pt>
                <c:pt idx="6">
                  <c:v>Equate 2 Blade Disposable Razors 12 Pack (5.7%)</c:v>
                </c:pt>
                <c:pt idx="7">
                  <c:v>Equate 2 Blade Disposable Razors 5 Pack (5.5%)</c:v>
                </c:pt>
                <c:pt idx="8">
                  <c:v>Harry's 5 Blade 1 Handle + 2 Cartridges (3.9%)</c:v>
                </c:pt>
                <c:pt idx="9">
                  <c:v>Dollar Shave Club 6 1 Handle + 2 Blades (2.0%)</c:v>
                </c:pt>
              </c:strCache>
            </c:strRef>
          </c:cat>
          <c:val>
            <c:numRef>
              <c:f>Sheet1!$B$2:$B$11</c:f>
              <c:numCache>
                <c:formatCode>General</c:formatCode>
                <c:ptCount val="10"/>
                <c:pt idx="0">
                  <c:v>0.14117103482846965</c:v>
                </c:pt>
                <c:pt idx="1">
                  <c:v>8.291160731065729E-2</c:v>
                </c:pt>
                <c:pt idx="2">
                  <c:v>7.1591762735847747E-2</c:v>
                </c:pt>
                <c:pt idx="3">
                  <c:v>5.7709027433069778E-2</c:v>
                </c:pt>
                <c:pt idx="4">
                  <c:v>5.5346128900211268E-2</c:v>
                </c:pt>
                <c:pt idx="5">
                  <c:v>5.2118179031092178E-2</c:v>
                </c:pt>
                <c:pt idx="6">
                  <c:v>4.880992622613841E-2</c:v>
                </c:pt>
                <c:pt idx="7">
                  <c:v>4.8547783282855708E-2</c:v>
                </c:pt>
                <c:pt idx="8">
                  <c:v>4.6917463130424317E-2</c:v>
                </c:pt>
                <c:pt idx="9">
                  <c:v>4.048122443595088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Gillette (38.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ic (16.9%)</c:v>
                </c:pt>
                <c:pt idx="1">
                  <c:v>Equate (21.7%)</c:v>
                </c:pt>
                <c:pt idx="2">
                  <c:v>Schick (11.2%)</c:v>
                </c:pt>
                <c:pt idx="3">
                  <c:v>Harrys (11.2%)</c:v>
                </c:pt>
                <c:pt idx="4">
                  <c:v>Dollar Shave Club (2.9%)</c:v>
                </c:pt>
                <c:pt idx="5">
                  <c:v>Van Der Hagen (2.0%)</c:v>
                </c:pt>
              </c:strCache>
            </c:strRef>
          </c:cat>
          <c:val>
            <c:numRef>
              <c:f>Sheet1!$B$2:$B$7</c:f>
              <c:numCache>
                <c:formatCode>General</c:formatCode>
                <c:ptCount val="6"/>
                <c:pt idx="0">
                  <c:v>0.25623313669599668</c:v>
                </c:pt>
                <c:pt idx="1">
                  <c:v>0.23861783303312156</c:v>
                </c:pt>
                <c:pt idx="2">
                  <c:v>0.19372856222907206</c:v>
                </c:pt>
                <c:pt idx="3">
                  <c:v>4.4258636849259875E-2</c:v>
                </c:pt>
                <c:pt idx="4">
                  <c:v>3.5364908473415974E-2</c:v>
                </c:pt>
                <c:pt idx="5">
                  <c:v>1.05236623849366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Wilkinson Sword Classic Double Edge 1 Handle + 5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Harry's 5 Blade 1 Handle + 2 Cartridges (3.9%)</c:v>
                </c:pt>
                <c:pt idx="2">
                  <c:v>None Razors (12.2%)</c:v>
                </c:pt>
                <c:pt idx="3">
                  <c:v>Schick Hydro 5 Blade Sensitive 1 Handle + 3 Cartridges (2.0%)</c:v>
                </c:pt>
                <c:pt idx="4">
                  <c:v>Gillette Mach 3 1 Handle + 2 Cartridges (2.7%)</c:v>
                </c:pt>
                <c:pt idx="5">
                  <c:v>Harry's 5 Blade 1 Handle + 5 Cartridges (2.3%)</c:v>
                </c:pt>
                <c:pt idx="6">
                  <c:v>Dollar Shave Club 6 1 Handle + 2 Blades (2.0%)</c:v>
                </c:pt>
                <c:pt idx="7">
                  <c:v>Equate 2 Blade Disposable Razors 12 Pack (5.7%)</c:v>
                </c:pt>
                <c:pt idx="8">
                  <c:v>Schick Xtreme 2 Sensitive Disposable Razors 12 Pack (2.7%)</c:v>
                </c:pt>
                <c:pt idx="9">
                  <c:v>Harry's Men Five Blade Refills 4 Pack (2.5%)</c:v>
                </c:pt>
              </c:strCache>
            </c:strRef>
          </c:cat>
          <c:val>
            <c:numRef>
              <c:f>Sheet1!$B$2:$B$11</c:f>
              <c:numCache>
                <c:formatCode>General</c:formatCode>
                <c:ptCount val="10"/>
                <c:pt idx="0">
                  <c:v>0.1184514053083317</c:v>
                </c:pt>
                <c:pt idx="1">
                  <c:v>8.5473166896728486E-2</c:v>
                </c:pt>
                <c:pt idx="2">
                  <c:v>7.330199798467929E-2</c:v>
                </c:pt>
                <c:pt idx="3">
                  <c:v>7.2010364257416234E-2</c:v>
                </c:pt>
                <c:pt idx="4">
                  <c:v>5.3288544938638653E-2</c:v>
                </c:pt>
                <c:pt idx="5">
                  <c:v>4.6652858555995783E-2</c:v>
                </c:pt>
                <c:pt idx="6">
                  <c:v>4.6558340337066559E-2</c:v>
                </c:pt>
                <c:pt idx="7">
                  <c:v>4.4634512970983004E-2</c:v>
                </c:pt>
                <c:pt idx="8">
                  <c:v>4.3177458496529819E-2</c:v>
                </c:pt>
                <c:pt idx="9">
                  <c:v>4.054640140549949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2 Blade Disposable Razors 5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0.77</c:v>
                </c:pt>
                <c:pt idx="1">
                  <c:v>0.87</c:v>
                </c:pt>
                <c:pt idx="2">
                  <c:v>0.98</c:v>
                </c:pt>
                <c:pt idx="3">
                  <c:v>1.07</c:v>
                </c:pt>
                <c:pt idx="4">
                  <c:v>1.27</c:v>
                </c:pt>
              </c:numCache>
            </c:numRef>
          </c:xVal>
          <c:yVal>
            <c:numRef>
              <c:f>Sheet1!$B$2:$B$6</c:f>
              <c:numCache>
                <c:formatCode>General</c:formatCode>
                <c:ptCount val="5"/>
                <c:pt idx="0">
                  <c:v>2.7339158021221083E-2</c:v>
                </c:pt>
                <c:pt idx="1">
                  <c:v>1.4231814891517501E-2</c:v>
                </c:pt>
                <c:pt idx="2">
                  <c:v>0</c:v>
                </c:pt>
                <c:pt idx="3">
                  <c:v>-1.1499960365236424E-2</c:v>
                </c:pt>
                <c:pt idx="4">
                  <c:v>-3.6594067184720198E-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Equate 2 Blade Disposable Razors 12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77</c:v>
                </c:pt>
                <c:pt idx="1">
                  <c:v>1.97</c:v>
                </c:pt>
                <c:pt idx="2">
                  <c:v>2.17</c:v>
                </c:pt>
                <c:pt idx="3">
                  <c:v>2.37</c:v>
                </c:pt>
                <c:pt idx="4">
                  <c:v>2.67</c:v>
                </c:pt>
              </c:numCache>
            </c:numRef>
          </c:xVal>
          <c:yVal>
            <c:numRef>
              <c:f>Sheet1!$B$9:$B$13</c:f>
              <c:numCache>
                <c:formatCode>General</c:formatCode>
                <c:ptCount val="5"/>
                <c:pt idx="0">
                  <c:v>2.0382753148779666E-2</c:v>
                </c:pt>
                <c:pt idx="1">
                  <c:v>1.0119837095538171E-2</c:v>
                </c:pt>
                <c:pt idx="2">
                  <c:v>0</c:v>
                </c:pt>
                <c:pt idx="3">
                  <c:v>-9.9800205143136637E-3</c:v>
                </c:pt>
                <c:pt idx="4">
                  <c:v>-2.4694763816632957E-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67"/>
          <c:min val="0.77"/>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c:f>
              <c:strCache>
                <c:ptCount val="3"/>
                <c:pt idx="0">
                  <c:v>0.78</c:v>
                </c:pt>
                <c:pt idx="1">
                  <c:v>0.98</c:v>
                </c:pt>
                <c:pt idx="2">
                  <c:v>1.18</c:v>
                </c:pt>
              </c:strCache>
            </c:strRef>
          </c:cat>
          <c:val>
            <c:numRef>
              <c:f>Sheet1!$B$2:$B$4</c:f>
              <c:numCache>
                <c:formatCode>General</c:formatCode>
                <c:ptCount val="3"/>
                <c:pt idx="0">
                  <c:v>102.60211352240918</c:v>
                </c:pt>
                <c:pt idx="1">
                  <c:v>100</c:v>
                </c:pt>
                <c:pt idx="2">
                  <c:v>97.46198093727889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c:f>
              <c:strCache>
                <c:ptCount val="3"/>
                <c:pt idx="0">
                  <c:v>0.78</c:v>
                </c:pt>
                <c:pt idx="1">
                  <c:v>0.98</c:v>
                </c:pt>
                <c:pt idx="2">
                  <c:v>1.18</c:v>
                </c:pt>
              </c:strCache>
            </c:strRef>
          </c:cat>
          <c:val>
            <c:numRef>
              <c:f>Sheet1!$C$2:$C$4</c:f>
              <c:numCache>
                <c:formatCode>General</c:formatCode>
                <c:ptCount val="3"/>
                <c:pt idx="0">
                  <c:v>81.827655680372899</c:v>
                </c:pt>
                <c:pt idx="1">
                  <c:v>100</c:v>
                </c:pt>
                <c:pt idx="2">
                  <c:v>117.1270416005299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c:f>
              <c:strCache>
                <c:ptCount val="3"/>
                <c:pt idx="0">
                  <c:v>0.78</c:v>
                </c:pt>
                <c:pt idx="1">
                  <c:v>0.98</c:v>
                </c:pt>
                <c:pt idx="2">
                  <c:v>1.18</c:v>
                </c:pt>
              </c:strCache>
            </c:strRef>
          </c:cat>
          <c:val>
            <c:numRef>
              <c:f>Sheet1!$D$2:$D$4</c:f>
              <c:numCache>
                <c:formatCode>General</c:formatCode>
                <c:ptCount val="3"/>
                <c:pt idx="0">
                  <c:v>-1491.3808145233704</c:v>
                </c:pt>
                <c:pt idx="1">
                  <c:v>100</c:v>
                </c:pt>
                <c:pt idx="2">
                  <c:v>1611.722519796133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c:f>
              <c:strCache>
                <c:ptCount val="3"/>
                <c:pt idx="0">
                  <c:v>0.78</c:v>
                </c:pt>
                <c:pt idx="1">
                  <c:v>0.98</c:v>
                </c:pt>
                <c:pt idx="2">
                  <c:v>1.18</c:v>
                </c:pt>
              </c:strCache>
            </c:strRef>
          </c:cat>
          <c:val>
            <c:numRef>
              <c:f>Sheet1!$E$2:$E$4</c:f>
              <c:numCache>
                <c:formatCode>General</c:formatCode>
                <c:ptCount val="3"/>
                <c:pt idx="0">
                  <c:v>-0.27296903468437372</c:v>
                </c:pt>
                <c:pt idx="1">
                  <c:v>-1.317943576919548E-2</c:v>
                </c:pt>
                <c:pt idx="2">
                  <c:v>0.1585458923272779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900"/>
          <c:min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2"/>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2 Blade Disposable Razors 5 Pack (5.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Bic Men Sensitive Single Blade Disposable Razors 12 Pack (5.7%)</c:v>
                </c:pt>
                <c:pt idx="2">
                  <c:v>None Razors (12.2%)</c:v>
                </c:pt>
                <c:pt idx="3">
                  <c:v>Bic 3 Sensitive Disposable Razors 5 Pack (1.9%)</c:v>
                </c:pt>
                <c:pt idx="4">
                  <c:v>Equate Speed 3 Disposable Razors 4 Pack (2.3%)</c:v>
                </c:pt>
                <c:pt idx="5">
                  <c:v>Schick Xtreme 2 Sensitive Disposable Razors 12 Pack (2.7%)</c:v>
                </c:pt>
                <c:pt idx="6">
                  <c:v>Bic Comfort 3 Sensitive Skin Disposable Razors 4 Pack (2.0%)</c:v>
                </c:pt>
                <c:pt idx="7">
                  <c:v>Equate Caliber 5 Disposable Razors 3 Pack (2.2%)</c:v>
                </c:pt>
                <c:pt idx="8">
                  <c:v>Schick Xtreme 3 Sensitive Disposable Razors 4 Pack (2.8%)</c:v>
                </c:pt>
                <c:pt idx="9">
                  <c:v>Equate Caliber 3 Disposable Razors 3 Pack (1.4%)</c:v>
                </c:pt>
              </c:strCache>
            </c:strRef>
          </c:cat>
          <c:val>
            <c:numRef>
              <c:f>Sheet1!$B$2:$B$11</c:f>
              <c:numCache>
                <c:formatCode>General</c:formatCode>
                <c:ptCount val="10"/>
                <c:pt idx="0">
                  <c:v>0.41528770666611647</c:v>
                </c:pt>
                <c:pt idx="1">
                  <c:v>0.10895748704104814</c:v>
                </c:pt>
                <c:pt idx="2">
                  <c:v>5.8683687062847351E-2</c:v>
                </c:pt>
                <c:pt idx="3">
                  <c:v>3.8016768810475346E-2</c:v>
                </c:pt>
                <c:pt idx="4">
                  <c:v>3.6172023724903309E-2</c:v>
                </c:pt>
                <c:pt idx="5">
                  <c:v>3.5538576411338306E-2</c:v>
                </c:pt>
                <c:pt idx="6">
                  <c:v>2.9155450674998577E-2</c:v>
                </c:pt>
                <c:pt idx="7">
                  <c:v>2.762921569860443E-2</c:v>
                </c:pt>
                <c:pt idx="8">
                  <c:v>2.6176548600329631E-2</c:v>
                </c:pt>
                <c:pt idx="9">
                  <c:v>2.565187835595763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2 Blade Disposable Razors 5 Pack (5.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Bic Men Sensitive Single Blade Disposable Razors 12 Pack (5.7%)</c:v>
                </c:pt>
                <c:pt idx="2">
                  <c:v>None Razors (12.2%)</c:v>
                </c:pt>
                <c:pt idx="3">
                  <c:v>Bic 3 Sensitive Disposable Razors 5 Pack (1.9%)</c:v>
                </c:pt>
                <c:pt idx="4">
                  <c:v>Equate Speed 3 Disposable Razors 4 Pack (2.3%)</c:v>
                </c:pt>
                <c:pt idx="5">
                  <c:v>Schick Xtreme 2 Sensitive Disposable Razors 12 Pack (2.7%)</c:v>
                </c:pt>
                <c:pt idx="6">
                  <c:v>Bic Comfort 3 Sensitive Skin Disposable Razors 4 Pack (2.0%)</c:v>
                </c:pt>
                <c:pt idx="7">
                  <c:v>Equate Caliber 5 Disposable Razors 3 Pack (2.2%)</c:v>
                </c:pt>
                <c:pt idx="8">
                  <c:v>Schick Xtreme 3 Sensitive Disposable Razors 4 Pack (2.8%)</c:v>
                </c:pt>
                <c:pt idx="9">
                  <c:v>Equate Caliber 3 Disposable Razors 3 Pack (1.4%)</c:v>
                </c:pt>
              </c:strCache>
            </c:strRef>
          </c:cat>
          <c:val>
            <c:numRef>
              <c:f>Sheet1!$B$2:$B$11</c:f>
              <c:numCache>
                <c:formatCode>General</c:formatCode>
                <c:ptCount val="10"/>
                <c:pt idx="0">
                  <c:v>0.41849952734810336</c:v>
                </c:pt>
                <c:pt idx="1">
                  <c:v>0.10932287748497971</c:v>
                </c:pt>
                <c:pt idx="2">
                  <c:v>5.8366453107761958E-2</c:v>
                </c:pt>
                <c:pt idx="3">
                  <c:v>3.8136970294508618E-2</c:v>
                </c:pt>
                <c:pt idx="4">
                  <c:v>3.5926273306584197E-2</c:v>
                </c:pt>
                <c:pt idx="5">
                  <c:v>3.5178400248807924E-2</c:v>
                </c:pt>
                <c:pt idx="6">
                  <c:v>2.9077832036959395E-2</c:v>
                </c:pt>
                <c:pt idx="7">
                  <c:v>2.7409288950804394E-2</c:v>
                </c:pt>
                <c:pt idx="8">
                  <c:v>2.5944952800393498E-2</c:v>
                </c:pt>
                <c:pt idx="9">
                  <c:v>2.543684489634067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c:f>
              <c:strCache>
                <c:ptCount val="5"/>
                <c:pt idx="0">
                  <c:v>1.77</c:v>
                </c:pt>
                <c:pt idx="1">
                  <c:v>1.97</c:v>
                </c:pt>
                <c:pt idx="2">
                  <c:v>2.17</c:v>
                </c:pt>
                <c:pt idx="3">
                  <c:v>2.37</c:v>
                </c:pt>
                <c:pt idx="4">
                  <c:v>2.57</c:v>
                </c:pt>
              </c:strCache>
            </c:strRef>
          </c:cat>
          <c:val>
            <c:numRef>
              <c:f>Sheet1!$B$2:$B$6</c:f>
              <c:numCache>
                <c:formatCode>General</c:formatCode>
                <c:ptCount val="5"/>
                <c:pt idx="0">
                  <c:v>102.03827531487795</c:v>
                </c:pt>
                <c:pt idx="1">
                  <c:v>101.01198370955377</c:v>
                </c:pt>
                <c:pt idx="2">
                  <c:v>100</c:v>
                </c:pt>
                <c:pt idx="3">
                  <c:v>99.001997948568572</c:v>
                </c:pt>
                <c:pt idx="4">
                  <c:v>98.01766224366829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c:f>
              <c:strCache>
                <c:ptCount val="5"/>
                <c:pt idx="0">
                  <c:v>1.77</c:v>
                </c:pt>
                <c:pt idx="1">
                  <c:v>1.97</c:v>
                </c:pt>
                <c:pt idx="2">
                  <c:v>2.17</c:v>
                </c:pt>
                <c:pt idx="3">
                  <c:v>2.37</c:v>
                </c:pt>
                <c:pt idx="4">
                  <c:v>2.57</c:v>
                </c:pt>
              </c:strCache>
            </c:strRef>
          </c:cat>
          <c:val>
            <c:numRef>
              <c:f>Sheet1!$C$2:$C$6</c:f>
              <c:numCache>
                <c:formatCode>General</c:formatCode>
                <c:ptCount val="5"/>
                <c:pt idx="0">
                  <c:v>83.49484203411383</c:v>
                </c:pt>
                <c:pt idx="1">
                  <c:v>91.846621890982021</c:v>
                </c:pt>
                <c:pt idx="2">
                  <c:v>100</c:v>
                </c:pt>
                <c:pt idx="3">
                  <c:v>107.96023117138023</c:v>
                </c:pt>
                <c:pt idx="4">
                  <c:v>115.7323727264879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c:f>
              <c:strCache>
                <c:ptCount val="5"/>
                <c:pt idx="0">
                  <c:v>1.77</c:v>
                </c:pt>
                <c:pt idx="1">
                  <c:v>1.97</c:v>
                </c:pt>
                <c:pt idx="2">
                  <c:v>2.17</c:v>
                </c:pt>
                <c:pt idx="3">
                  <c:v>2.37</c:v>
                </c:pt>
                <c:pt idx="4">
                  <c:v>2.57</c:v>
                </c:pt>
              </c:strCache>
            </c:strRef>
          </c:cat>
          <c:val>
            <c:numRef>
              <c:f>Sheet1!$D$2:$D$6</c:f>
              <c:numCache>
                <c:formatCode>General</c:formatCode>
                <c:ptCount val="5"/>
                <c:pt idx="0">
                  <c:v>-3009.7353203840257</c:v>
                </c:pt>
                <c:pt idx="1">
                  <c:v>-1439.2320404581108</c:v>
                </c:pt>
                <c:pt idx="2">
                  <c:v>100</c:v>
                </c:pt>
                <c:pt idx="3">
                  <c:v>1608.6098052266714</c:v>
                </c:pt>
                <c:pt idx="4">
                  <c:v>3087.226829387008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c:f>
              <c:strCache>
                <c:ptCount val="5"/>
                <c:pt idx="0">
                  <c:v>1.77</c:v>
                </c:pt>
                <c:pt idx="1">
                  <c:v>1.97</c:v>
                </c:pt>
                <c:pt idx="2">
                  <c:v>2.17</c:v>
                </c:pt>
                <c:pt idx="3">
                  <c:v>2.37</c:v>
                </c:pt>
                <c:pt idx="4">
                  <c:v>2.57</c:v>
                </c:pt>
              </c:strCache>
            </c:strRef>
          </c:cat>
          <c:val>
            <c:numRef>
              <c:f>Sheet1!$E$2:$E$6</c:f>
              <c:numCache>
                <c:formatCode>General</c:formatCode>
                <c:ptCount val="5"/>
                <c:pt idx="0">
                  <c:v>-0.23340882450623143</c:v>
                </c:pt>
                <c:pt idx="1">
                  <c:v>-0.10818965450559877</c:v>
                </c:pt>
                <c:pt idx="2">
                  <c:v>-6.0523591594608041E-3</c:v>
                </c:pt>
                <c:pt idx="3">
                  <c:v>7.884657410294113E-2</c:v>
                </c:pt>
                <c:pt idx="4">
                  <c:v>0.1505316656124396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3700"/>
          <c:min val="-3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2"/>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2 Blade Disposable Razors 12 Pack (5.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5 Pack (5.5%)</c:v>
                </c:pt>
                <c:pt idx="1">
                  <c:v>Bic Men Sensitive Single Blade Disposable Razors 12 Pack (5.7%)</c:v>
                </c:pt>
                <c:pt idx="2">
                  <c:v>None Razors (12.2%)</c:v>
                </c:pt>
                <c:pt idx="3">
                  <c:v>Equate Speed 3 Disposable Razors 4 Pack (2.3%)</c:v>
                </c:pt>
                <c:pt idx="4">
                  <c:v>Schick Xtreme 2 Sensitive Disposable Razors 12 Pack (2.7%)</c:v>
                </c:pt>
                <c:pt idx="5">
                  <c:v>Schick Xtreme 3 Sensitive Disposable Razors 4 Pack (2.8%)</c:v>
                </c:pt>
                <c:pt idx="6">
                  <c:v>Equate Caliber 5 Disposable Razors 3 Pack (2.2%)</c:v>
                </c:pt>
                <c:pt idx="7">
                  <c:v>Equate Caliber 3 Disposable Razors 3 Pack (1.4%)</c:v>
                </c:pt>
                <c:pt idx="8">
                  <c:v>Bic 3 Sensitive Disposable Razors 5 Pack (1.9%)</c:v>
                </c:pt>
                <c:pt idx="9">
                  <c:v>Bic Comfort 3 Sensitive Skin Disposable Razors 4 Pack (2.0%)</c:v>
                </c:pt>
              </c:strCache>
            </c:strRef>
          </c:cat>
          <c:val>
            <c:numRef>
              <c:f>Sheet1!$B$2:$B$11</c:f>
              <c:numCache>
                <c:formatCode>General</c:formatCode>
                <c:ptCount val="10"/>
                <c:pt idx="0">
                  <c:v>0.36147670868272413</c:v>
                </c:pt>
                <c:pt idx="1">
                  <c:v>0.11488083118188142</c:v>
                </c:pt>
                <c:pt idx="2">
                  <c:v>5.1892264779423158E-2</c:v>
                </c:pt>
                <c:pt idx="3">
                  <c:v>4.685890184863422E-2</c:v>
                </c:pt>
                <c:pt idx="4">
                  <c:v>3.7246985817860685E-2</c:v>
                </c:pt>
                <c:pt idx="5">
                  <c:v>3.5142339147608503E-2</c:v>
                </c:pt>
                <c:pt idx="6">
                  <c:v>3.3014975947627215E-2</c:v>
                </c:pt>
                <c:pt idx="7">
                  <c:v>3.090621226722853E-2</c:v>
                </c:pt>
                <c:pt idx="8">
                  <c:v>2.8978154273110526E-2</c:v>
                </c:pt>
                <c:pt idx="9">
                  <c:v>2.769583694622555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2 Blade Disposable Razors 12 Pack (5.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5 Pack (5.5%)</c:v>
                </c:pt>
                <c:pt idx="1">
                  <c:v>Bic Men Sensitive Single Blade Disposable Razors 12 Pack (5.7%)</c:v>
                </c:pt>
                <c:pt idx="2">
                  <c:v>None Razors (12.2%)</c:v>
                </c:pt>
                <c:pt idx="3">
                  <c:v>Equate Speed 3 Disposable Razors 4 Pack (2.3%)</c:v>
                </c:pt>
                <c:pt idx="4">
                  <c:v>Schick Xtreme 2 Sensitive Disposable Razors 12 Pack (2.7%)</c:v>
                </c:pt>
                <c:pt idx="5">
                  <c:v>Schick Xtreme 3 Sensitive Disposable Razors 4 Pack (2.8%)</c:v>
                </c:pt>
                <c:pt idx="6">
                  <c:v>Equate Caliber 5 Disposable Razors 3 Pack (2.2%)</c:v>
                </c:pt>
                <c:pt idx="7">
                  <c:v>Equate Caliber 3 Disposable Razors 3 Pack (1.4%)</c:v>
                </c:pt>
                <c:pt idx="8">
                  <c:v>Bic 3 Sensitive Disposable Razors 5 Pack (1.9%)</c:v>
                </c:pt>
                <c:pt idx="9">
                  <c:v>Bic Comfort 3 Sensitive Skin Disposable Razors 4 Pack (2.0%)</c:v>
                </c:pt>
              </c:strCache>
            </c:strRef>
          </c:cat>
          <c:val>
            <c:numRef>
              <c:f>Sheet1!$B$2:$B$11</c:f>
              <c:numCache>
                <c:formatCode>General</c:formatCode>
                <c:ptCount val="10"/>
                <c:pt idx="0">
                  <c:v>0.36574213360541813</c:v>
                </c:pt>
                <c:pt idx="1">
                  <c:v>0.1149785594176123</c:v>
                </c:pt>
                <c:pt idx="2">
                  <c:v>5.1868016114290219E-2</c:v>
                </c:pt>
                <c:pt idx="3">
                  <c:v>4.6703104593922136E-2</c:v>
                </c:pt>
                <c:pt idx="4">
                  <c:v>3.6982628073449528E-2</c:v>
                </c:pt>
                <c:pt idx="5">
                  <c:v>3.482175560839202E-2</c:v>
                </c:pt>
                <c:pt idx="6">
                  <c:v>3.2917322003807994E-2</c:v>
                </c:pt>
                <c:pt idx="7">
                  <c:v>3.0872648609439064E-2</c:v>
                </c:pt>
                <c:pt idx="8">
                  <c:v>2.890618923269677E-2</c:v>
                </c:pt>
                <c:pt idx="9">
                  <c:v>2.746063909237403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2 Blade Disposable Razors 20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7</c:v>
                </c:pt>
                <c:pt idx="1">
                  <c:v>3.07</c:v>
                </c:pt>
                <c:pt idx="2">
                  <c:v>3.47</c:v>
                </c:pt>
                <c:pt idx="3">
                  <c:v>3.77</c:v>
                </c:pt>
                <c:pt idx="4">
                  <c:v>4.1700000000000008</c:v>
                </c:pt>
              </c:numCache>
            </c:numRef>
          </c:xVal>
          <c:yVal>
            <c:numRef>
              <c:f>Sheet1!$B$2:$B$6</c:f>
              <c:numCache>
                <c:formatCode>General</c:formatCode>
                <c:ptCount val="5"/>
                <c:pt idx="0">
                  <c:v>8.7229297795216015E-2</c:v>
                </c:pt>
                <c:pt idx="1">
                  <c:v>4.8505971270860301E-2</c:v>
                </c:pt>
                <c:pt idx="2">
                  <c:v>0</c:v>
                </c:pt>
                <c:pt idx="3">
                  <c:v>-3.4225401108590889E-2</c:v>
                </c:pt>
                <c:pt idx="4">
                  <c:v>-8.0820718549630036E-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Equate Caliber 3 Disposable Razors 6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5.4700000000000006</c:v>
                </c:pt>
                <c:pt idx="1">
                  <c:v>5.7700000000000005</c:v>
                </c:pt>
                <c:pt idx="2">
                  <c:v>6.47</c:v>
                </c:pt>
                <c:pt idx="3">
                  <c:v>7.07</c:v>
                </c:pt>
                <c:pt idx="4">
                  <c:v>8.07</c:v>
                </c:pt>
              </c:numCache>
            </c:numRef>
          </c:xVal>
          <c:yVal>
            <c:numRef>
              <c:f>Sheet1!$B$9:$B$13</c:f>
              <c:numCache>
                <c:formatCode>General</c:formatCode>
                <c:ptCount val="5"/>
                <c:pt idx="0">
                  <c:v>0.23295095995308282</c:v>
                </c:pt>
                <c:pt idx="1">
                  <c:v>0.15149813445677193</c:v>
                </c:pt>
                <c:pt idx="2">
                  <c:v>0</c:v>
                </c:pt>
                <c:pt idx="3">
                  <c:v>-0.2854722653657587</c:v>
                </c:pt>
                <c:pt idx="4">
                  <c:v>-0.43739313064531299</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Equate Caliber 5 Disposable Razors 6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7.07</c:v>
                </c:pt>
                <c:pt idx="1">
                  <c:v>7.37</c:v>
                </c:pt>
                <c:pt idx="2">
                  <c:v>8.3699999999999992</c:v>
                </c:pt>
                <c:pt idx="3">
                  <c:v>9.27</c:v>
                </c:pt>
                <c:pt idx="4">
                  <c:v>10.47</c:v>
                </c:pt>
              </c:numCache>
            </c:numRef>
          </c:xVal>
          <c:yVal>
            <c:numRef>
              <c:f>Sheet1!$B$16:$B$20</c:f>
              <c:numCache>
                <c:formatCode>General</c:formatCode>
                <c:ptCount val="5"/>
                <c:pt idx="0">
                  <c:v>0.22464323129209235</c:v>
                </c:pt>
                <c:pt idx="1">
                  <c:v>0.16795063253225281</c:v>
                </c:pt>
                <c:pt idx="2">
                  <c:v>0</c:v>
                </c:pt>
                <c:pt idx="3">
                  <c:v>-0.11184632051810516</c:v>
                </c:pt>
                <c:pt idx="4">
                  <c:v>-0.2248413931990726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0.47"/>
          <c:min val="2.77"/>
        </c:scaling>
        <c:delete val="0"/>
        <c:axPos val="b"/>
        <c:title>
          <c:tx>
            <c:rich>
              <a:bodyPr/>
              <a:lstStyle/>
              <a:p>
                <a:pPr>
                  <a:defRPr sz="800">
                    <a:solidFill>
                      <a:srgbClr val="575555"/>
                    </a:solidFill>
                    <a:latin typeface="Nexa Bold"/>
                  </a:defRPr>
                </a:pPr>
                <a:r>
                  <a:rPr lang="de-DE"/>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8</c:f>
              <c:strCache>
                <c:ptCount val="7"/>
                <c:pt idx="0">
                  <c:v>2.87</c:v>
                </c:pt>
                <c:pt idx="1">
                  <c:v>3.07</c:v>
                </c:pt>
                <c:pt idx="2">
                  <c:v>3.27</c:v>
                </c:pt>
                <c:pt idx="3">
                  <c:v>3.47</c:v>
                </c:pt>
                <c:pt idx="4">
                  <c:v>3.67</c:v>
                </c:pt>
                <c:pt idx="5">
                  <c:v>3.87</c:v>
                </c:pt>
                <c:pt idx="6">
                  <c:v>4.07</c:v>
                </c:pt>
              </c:strCache>
            </c:strRef>
          </c:cat>
          <c:val>
            <c:numRef>
              <c:f>Sheet1!$B$2:$B$8</c:f>
              <c:numCache>
                <c:formatCode>General</c:formatCode>
                <c:ptCount val="7"/>
                <c:pt idx="0">
                  <c:v>107.40866983281263</c:v>
                </c:pt>
                <c:pt idx="1">
                  <c:v>104.85059712708602</c:v>
                </c:pt>
                <c:pt idx="2">
                  <c:v>102.38252963997681</c:v>
                </c:pt>
                <c:pt idx="3">
                  <c:v>100</c:v>
                </c:pt>
                <c:pt idx="4">
                  <c:v>97.698803771126435</c:v>
                </c:pt>
                <c:pt idx="5">
                  <c:v>95.38838669189434</c:v>
                </c:pt>
                <c:pt idx="6">
                  <c:v>93.05883412386815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8</c:f>
              <c:strCache>
                <c:ptCount val="7"/>
                <c:pt idx="0">
                  <c:v>2.87</c:v>
                </c:pt>
                <c:pt idx="1">
                  <c:v>3.07</c:v>
                </c:pt>
                <c:pt idx="2">
                  <c:v>3.27</c:v>
                </c:pt>
                <c:pt idx="3">
                  <c:v>3.47</c:v>
                </c:pt>
                <c:pt idx="4">
                  <c:v>3.67</c:v>
                </c:pt>
                <c:pt idx="5">
                  <c:v>3.87</c:v>
                </c:pt>
                <c:pt idx="6">
                  <c:v>4.07</c:v>
                </c:pt>
              </c:strCache>
            </c:strRef>
          </c:cat>
          <c:val>
            <c:numRef>
              <c:f>Sheet1!$C$2:$C$8</c:f>
              <c:numCache>
                <c:formatCode>General</c:formatCode>
                <c:ptCount val="7"/>
                <c:pt idx="0">
                  <c:v>88.994449925728247</c:v>
                </c:pt>
                <c:pt idx="1">
                  <c:v>92.871169053618715</c:v>
                </c:pt>
                <c:pt idx="2">
                  <c:v>96.535808390748187</c:v>
                </c:pt>
                <c:pt idx="3">
                  <c:v>100</c:v>
                </c:pt>
                <c:pt idx="4">
                  <c:v>103.27455201095155</c:v>
                </c:pt>
                <c:pt idx="5">
                  <c:v>106.27457413538836</c:v>
                </c:pt>
                <c:pt idx="6">
                  <c:v>108.987489373642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8</c:f>
              <c:strCache>
                <c:ptCount val="7"/>
                <c:pt idx="0">
                  <c:v>2.87</c:v>
                </c:pt>
                <c:pt idx="1">
                  <c:v>3.07</c:v>
                </c:pt>
                <c:pt idx="2">
                  <c:v>3.27</c:v>
                </c:pt>
                <c:pt idx="3">
                  <c:v>3.47</c:v>
                </c:pt>
                <c:pt idx="4">
                  <c:v>3.67</c:v>
                </c:pt>
                <c:pt idx="5">
                  <c:v>3.87</c:v>
                </c:pt>
                <c:pt idx="6">
                  <c:v>4.07</c:v>
                </c:pt>
              </c:strCache>
            </c:strRef>
          </c:cat>
          <c:val>
            <c:numRef>
              <c:f>Sheet1!$D$2:$D$8</c:f>
              <c:numCache>
                <c:formatCode>General</c:formatCode>
                <c:ptCount val="7"/>
                <c:pt idx="0">
                  <c:v>-16.294262570929142</c:v>
                </c:pt>
                <c:pt idx="1">
                  <c:v>24.287839370334275</c:v>
                </c:pt>
                <c:pt idx="2">
                  <c:v>63.020690158359471</c:v>
                </c:pt>
                <c:pt idx="3">
                  <c:v>100</c:v>
                </c:pt>
                <c:pt idx="4">
                  <c:v>135.31526661686803</c:v>
                </c:pt>
                <c:pt idx="5">
                  <c:v>169.07829643804027</c:v>
                </c:pt>
                <c:pt idx="6">
                  <c:v>201.2796054906212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8</c:f>
              <c:strCache>
                <c:ptCount val="7"/>
                <c:pt idx="0">
                  <c:v>2.87</c:v>
                </c:pt>
                <c:pt idx="1">
                  <c:v>3.07</c:v>
                </c:pt>
                <c:pt idx="2">
                  <c:v>3.27</c:v>
                </c:pt>
                <c:pt idx="3">
                  <c:v>3.47</c:v>
                </c:pt>
                <c:pt idx="4">
                  <c:v>3.67</c:v>
                </c:pt>
                <c:pt idx="5">
                  <c:v>3.87</c:v>
                </c:pt>
                <c:pt idx="6">
                  <c:v>4.07</c:v>
                </c:pt>
              </c:strCache>
            </c:strRef>
          </c:cat>
          <c:val>
            <c:numRef>
              <c:f>Sheet1!$E$2:$E$8</c:f>
              <c:numCache>
                <c:formatCode>General</c:formatCode>
                <c:ptCount val="7"/>
                <c:pt idx="0">
                  <c:v>-0.41528278990365808</c:v>
                </c:pt>
                <c:pt idx="1">
                  <c:v>-0.32308195668517847</c:v>
                </c:pt>
                <c:pt idx="2">
                  <c:v>-0.24215951285122259</c:v>
                </c:pt>
                <c:pt idx="3">
                  <c:v>-0.17056530461772251</c:v>
                </c:pt>
                <c:pt idx="4">
                  <c:v>-0.10677427984291479</c:v>
                </c:pt>
                <c:pt idx="5">
                  <c:v>-4.9576642641730742E-2</c:v>
                </c:pt>
                <c:pt idx="6">
                  <c:v>1.999605153931743E-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40"/>
          <c:min val="-2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15/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6" Type="http://schemas.microsoft.com/office/2007/relationships/hdphoto" Target="../media/hdphoto2.wdp"/><Relationship Id="rId5" Type="http://schemas.openxmlformats.org/officeDocument/2006/relationships/image" Target="../media/image30.png"/><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28.bin"/><Relationship Id="rId7" Type="http://schemas.openxmlformats.org/officeDocument/2006/relationships/image" Target="../media/image29.png"/><Relationship Id="rId2" Type="http://schemas.openxmlformats.org/officeDocument/2006/relationships/slideMaster" Target="../slideMasters/slideMaster2.xml"/><Relationship Id="rId1" Type="http://schemas.openxmlformats.org/officeDocument/2006/relationships/tags" Target="../tags/tag45.xml"/><Relationship Id="rId6" Type="http://schemas.microsoft.com/office/2007/relationships/hdphoto" Target="../media/hdphoto4.wdp"/><Relationship Id="rId5" Type="http://schemas.openxmlformats.org/officeDocument/2006/relationships/image" Target="../media/image30.png"/><Relationship Id="rId4" Type="http://schemas.openxmlformats.org/officeDocument/2006/relationships/image" Target="../media/image3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6.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3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9.bin"/><Relationship Id="rId7" Type="http://schemas.microsoft.com/office/2007/relationships/hdphoto" Target="../media/hdphoto6.wdp"/><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39.png"/><Relationship Id="rId5" Type="http://schemas.openxmlformats.org/officeDocument/2006/relationships/image" Target="../media/image38.jpeg"/><Relationship Id="rId4" Type="http://schemas.openxmlformats.org/officeDocument/2006/relationships/image" Target="../media/image37.emf"/></Relationships>
</file>

<file path=ppt/slideLayouts/_rels/slideLayout51.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oleObject" Target="../embeddings/oleObject29.bin"/><Relationship Id="rId7" Type="http://schemas.openxmlformats.org/officeDocument/2006/relationships/image" Target="../media/image42.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hyperlink" Target="https://pixabay.com/en/coffee-table-cup-break-2725265/" TargetMode="External"/><Relationship Id="rId5" Type="http://schemas.openxmlformats.org/officeDocument/2006/relationships/image" Target="../media/image41.jpeg"/><Relationship Id="rId4" Type="http://schemas.openxmlformats.org/officeDocument/2006/relationships/image" Target="../media/image40.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29.bin"/><Relationship Id="rId7" Type="http://schemas.microsoft.com/office/2007/relationships/hdphoto" Target="../media/hdphoto8.wdp"/><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30.png"/><Relationship Id="rId5" Type="http://schemas.openxmlformats.org/officeDocument/2006/relationships/image" Target="../media/image44.jpeg"/><Relationship Id="rId4" Type="http://schemas.openxmlformats.org/officeDocument/2006/relationships/image" Target="../media/image43.emf"/><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9.wdp"/><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0.wdp"/><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5.emf"/></Relationships>
</file>

<file path=ppt/slideLayouts/_rels/slideLayout55.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50.jpeg"/><Relationship Id="rId7"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45.emf"/><Relationship Id="rId5" Type="http://schemas.openxmlformats.org/officeDocument/2006/relationships/oleObject" Target="../embeddings/oleObject28.bin"/><Relationship Id="rId4" Type="http://schemas.openxmlformats.org/officeDocument/2006/relationships/image" Target="../media/image51.jpeg"/></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5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2.wdp"/><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3.wdp"/><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14.wdp"/><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5.wdp"/><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6.wdp"/><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7.wdp"/><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71.png"/><Relationship Id="rId5" Type="http://schemas.openxmlformats.org/officeDocument/2006/relationships/image" Target="../media/image70.jpeg"/><Relationship Id="rId4" Type="http://schemas.openxmlformats.org/officeDocument/2006/relationships/image" Target="../media/image6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8.wdp"/><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7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9.wdp"/><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0.wdp"/><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80.png"/><Relationship Id="rId5" Type="http://schemas.openxmlformats.org/officeDocument/2006/relationships/image" Target="../media/image79.jpeg"/><Relationship Id="rId4" Type="http://schemas.openxmlformats.org/officeDocument/2006/relationships/image" Target="../media/image7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1.wdp"/><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82.png"/><Relationship Id="rId5" Type="http://schemas.openxmlformats.org/officeDocument/2006/relationships/image" Target="../media/image81.jpeg"/><Relationship Id="rId4" Type="http://schemas.openxmlformats.org/officeDocument/2006/relationships/image" Target="../media/image7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2.wdp"/><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84.png"/><Relationship Id="rId5" Type="http://schemas.openxmlformats.org/officeDocument/2006/relationships/image" Target="../media/image83.jpeg"/><Relationship Id="rId4" Type="http://schemas.openxmlformats.org/officeDocument/2006/relationships/image" Target="../media/image7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3.wdp"/><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86.png"/><Relationship Id="rId5" Type="http://schemas.openxmlformats.org/officeDocument/2006/relationships/image" Target="../media/image85.jpeg"/><Relationship Id="rId4" Type="http://schemas.openxmlformats.org/officeDocument/2006/relationships/image" Target="../media/image78.emf"/></Relationships>
</file>

<file path=ppt/slideLayouts/_rels/slideLayout69.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oleObject" Target="../embeddings/oleObject28.bin"/><Relationship Id="rId7" Type="http://schemas.openxmlformats.org/officeDocument/2006/relationships/image" Target="../media/image89.png"/><Relationship Id="rId2" Type="http://schemas.openxmlformats.org/officeDocument/2006/relationships/slideMaster" Target="../slideMasters/slideMaster2.xml"/><Relationship Id="rId1" Type="http://schemas.openxmlformats.org/officeDocument/2006/relationships/tags" Target="../tags/tag66.xml"/><Relationship Id="rId6" Type="http://schemas.microsoft.com/office/2007/relationships/hdphoto" Target="../media/hdphoto24.wdp"/><Relationship Id="rId5" Type="http://schemas.openxmlformats.org/officeDocument/2006/relationships/image" Target="../media/image88.png"/><Relationship Id="rId4" Type="http://schemas.openxmlformats.org/officeDocument/2006/relationships/image" Target="../media/image8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oleObject" Target="../embeddings/oleObject28.bin"/><Relationship Id="rId7" Type="http://schemas.openxmlformats.org/officeDocument/2006/relationships/image" Target="../media/image91.png"/><Relationship Id="rId2" Type="http://schemas.openxmlformats.org/officeDocument/2006/relationships/slideMaster" Target="../slideMasters/slideMaster2.xml"/><Relationship Id="rId1" Type="http://schemas.openxmlformats.org/officeDocument/2006/relationships/tags" Target="../tags/tag68.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9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8/1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8/1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8/1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8/1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8/1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8/1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8/1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8/1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8/15/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8/1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50" Type="http://schemas.openxmlformats.org/officeDocument/2006/relationships/slideLayout" Target="../slideLayouts/slideLayout74.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9" Type="http://schemas.openxmlformats.org/officeDocument/2006/relationships/slideLayout" Target="../slideLayouts/slideLayout53.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53" Type="http://schemas.openxmlformats.org/officeDocument/2006/relationships/oleObject" Target="../embeddings/oleObject27.bin"/><Relationship Id="rId5" Type="http://schemas.openxmlformats.org/officeDocument/2006/relationships/slideLayout" Target="../slideLayouts/slideLayout2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tags" Target="../tags/tag28.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8" Type="http://schemas.openxmlformats.org/officeDocument/2006/relationships/slideLayout" Target="../slideLayouts/slideLayout32.xml"/><Relationship Id="rId51" Type="http://schemas.openxmlformats.org/officeDocument/2006/relationships/theme" Target="../theme/theme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54"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8/15/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2" Type="http://schemas.openxmlformats.org/officeDocument/2006/relationships/chart" Target="../charts/chart137.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3" Type="http://schemas.openxmlformats.org/officeDocument/2006/relationships/chart" Target="../charts/chart139.xml"/><Relationship Id="rId2" Type="http://schemas.openxmlformats.org/officeDocument/2006/relationships/chart" Target="../charts/chart138.xml"/><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2" Type="http://schemas.openxmlformats.org/officeDocument/2006/relationships/chart" Target="../charts/chart140.xml"/><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3" Type="http://schemas.openxmlformats.org/officeDocument/2006/relationships/chart" Target="../charts/chart142.xml"/><Relationship Id="rId2" Type="http://schemas.openxmlformats.org/officeDocument/2006/relationships/chart" Target="../charts/chart141.xml"/><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2" Type="http://schemas.openxmlformats.org/officeDocument/2006/relationships/chart" Target="../charts/chart143.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2" Type="http://schemas.openxmlformats.org/officeDocument/2006/relationships/chart" Target="../charts/chart144.xm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3" Type="http://schemas.openxmlformats.org/officeDocument/2006/relationships/chart" Target="../charts/chart146.xml"/><Relationship Id="rId2" Type="http://schemas.openxmlformats.org/officeDocument/2006/relationships/chart" Target="../charts/chart145.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2" Type="http://schemas.openxmlformats.org/officeDocument/2006/relationships/chart" Target="../charts/chart147.xml"/><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3" Type="http://schemas.openxmlformats.org/officeDocument/2006/relationships/chart" Target="../charts/chart149.xml"/><Relationship Id="rId2" Type="http://schemas.openxmlformats.org/officeDocument/2006/relationships/chart" Target="../charts/chart148.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2" Type="http://schemas.openxmlformats.org/officeDocument/2006/relationships/chart" Target="../charts/chart15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3" Type="http://schemas.openxmlformats.org/officeDocument/2006/relationships/chart" Target="../charts/chart152.xml"/><Relationship Id="rId2" Type="http://schemas.openxmlformats.org/officeDocument/2006/relationships/chart" Target="../charts/chart151.xml"/><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2" Type="http://schemas.openxmlformats.org/officeDocument/2006/relationships/chart" Target="../charts/chart153.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3" Type="http://schemas.openxmlformats.org/officeDocument/2006/relationships/chart" Target="../charts/chart155.xml"/><Relationship Id="rId2" Type="http://schemas.openxmlformats.org/officeDocument/2006/relationships/chart" Target="../charts/chart154.xml"/><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2" Type="http://schemas.openxmlformats.org/officeDocument/2006/relationships/chart" Target="../charts/chart156.xml"/><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2" Type="http://schemas.openxmlformats.org/officeDocument/2006/relationships/chart" Target="../charts/chart157.xml"/><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3" Type="http://schemas.openxmlformats.org/officeDocument/2006/relationships/chart" Target="../charts/chart159.xml"/><Relationship Id="rId2" Type="http://schemas.openxmlformats.org/officeDocument/2006/relationships/chart" Target="../charts/chart158.xml"/><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2" Type="http://schemas.openxmlformats.org/officeDocument/2006/relationships/chart" Target="../charts/chart160.xml"/><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3" Type="http://schemas.openxmlformats.org/officeDocument/2006/relationships/chart" Target="../charts/chart162.xml"/><Relationship Id="rId2" Type="http://schemas.openxmlformats.org/officeDocument/2006/relationships/chart" Target="../charts/chart161.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2" Type="http://schemas.openxmlformats.org/officeDocument/2006/relationships/chart" Target="../charts/chart163.xml"/><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3" Type="http://schemas.openxmlformats.org/officeDocument/2006/relationships/chart" Target="../charts/chart165.xml"/><Relationship Id="rId2" Type="http://schemas.openxmlformats.org/officeDocument/2006/relationships/chart" Target="../charts/chart164.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20.xml.rels><?xml version="1.0" encoding="UTF-8" standalone="yes"?>
<Relationships xmlns="http://schemas.openxmlformats.org/package/2006/relationships"><Relationship Id="rId2" Type="http://schemas.openxmlformats.org/officeDocument/2006/relationships/chart" Target="../charts/chart166.xml"/><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2" Type="http://schemas.openxmlformats.org/officeDocument/2006/relationships/chart" Target="../charts/chart167.xml"/><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3" Type="http://schemas.openxmlformats.org/officeDocument/2006/relationships/chart" Target="../charts/chart169.xml"/><Relationship Id="rId2" Type="http://schemas.openxmlformats.org/officeDocument/2006/relationships/chart" Target="../charts/chart168.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2" Type="http://schemas.openxmlformats.org/officeDocument/2006/relationships/chart" Target="../charts/chart170.xml"/><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2" Type="http://schemas.openxmlformats.org/officeDocument/2006/relationships/chart" Target="../charts/chart171.xml"/><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3" Type="http://schemas.openxmlformats.org/officeDocument/2006/relationships/chart" Target="../charts/chart173.xml"/><Relationship Id="rId2" Type="http://schemas.openxmlformats.org/officeDocument/2006/relationships/chart" Target="../charts/chart172.xml"/><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2" Type="http://schemas.openxmlformats.org/officeDocument/2006/relationships/chart" Target="../charts/chart174.xml"/><Relationship Id="rId1" Type="http://schemas.openxmlformats.org/officeDocument/2006/relationships/slideLayout" Target="../slideLayouts/slideLayout7.xml"/></Relationships>
</file>

<file path=ppt/slides/_rels/slide127.xml.rels><?xml version="1.0" encoding="UTF-8" standalone="yes"?>
<Relationships xmlns="http://schemas.openxmlformats.org/package/2006/relationships"><Relationship Id="rId3" Type="http://schemas.openxmlformats.org/officeDocument/2006/relationships/chart" Target="../charts/chart176.xml"/><Relationship Id="rId2" Type="http://schemas.openxmlformats.org/officeDocument/2006/relationships/chart" Target="../charts/chart175.xml"/><Relationship Id="rId1" Type="http://schemas.openxmlformats.org/officeDocument/2006/relationships/slideLayout" Target="../slideLayouts/slideLayout7.xml"/></Relationships>
</file>

<file path=ppt/slides/_rels/slide128.xml.rels><?xml version="1.0" encoding="UTF-8" standalone="yes"?>
<Relationships xmlns="http://schemas.openxmlformats.org/package/2006/relationships"><Relationship Id="rId2" Type="http://schemas.openxmlformats.org/officeDocument/2006/relationships/chart" Target="../charts/chart177.xml"/><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3" Type="http://schemas.openxmlformats.org/officeDocument/2006/relationships/chart" Target="../charts/chart179.xml"/><Relationship Id="rId2" Type="http://schemas.openxmlformats.org/officeDocument/2006/relationships/chart" Target="../charts/chart178.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30.xml.rels><?xml version="1.0" encoding="UTF-8" standalone="yes"?>
<Relationships xmlns="http://schemas.openxmlformats.org/package/2006/relationships"><Relationship Id="rId2" Type="http://schemas.openxmlformats.org/officeDocument/2006/relationships/chart" Target="../charts/chart180.xml"/><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2" Type="http://schemas.openxmlformats.org/officeDocument/2006/relationships/chart" Target="../charts/chart181.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7.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chart" Target="../charts/chart28.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chart" Target="../charts/chart33.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chart" Target="../charts/chart34.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chart" Target="../charts/chart36.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chart" Target="../charts/chart39.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chart" Target="../charts/chart40.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chart" Target="../charts/chart42.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chart" Target="../charts/chart4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chart" Target="../charts/chart4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chart" Target="../charts/chart4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chart" Target="../charts/chart48.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chart" Target="../charts/chart49.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chart" Target="../charts/chart50.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chart" Target="../charts/chart52.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chart" Target="../charts/chart53.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chart" Target="../charts/chart55.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chart" Target="../charts/chart56.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chart" Target="../charts/chart57.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chart" Target="../charts/chart59.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chart" Target="../charts/chart60.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chart" Target="../charts/chart62.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chart" Target="../charts/chart63.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chart" Target="../charts/chart6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chart" Target="../charts/chart66.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chart" Target="../charts/chart67.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chart" Target="../charts/chart69.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chart" Target="../charts/chart71.xml"/><Relationship Id="rId2" Type="http://schemas.openxmlformats.org/officeDocument/2006/relationships/chart" Target="../charts/chart70.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chart" Target="../charts/chart72.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chart" Target="../charts/chart73.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chart" Target="../charts/chart75.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chart" Target="../charts/chart76.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chart" Target="../charts/chart78.xml"/><Relationship Id="rId2" Type="http://schemas.openxmlformats.org/officeDocument/2006/relationships/chart" Target="../charts/chart77.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chart" Target="../charts/chart79.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chart" Target="../charts/chart81.xml"/><Relationship Id="rId2" Type="http://schemas.openxmlformats.org/officeDocument/2006/relationships/chart" Target="../charts/chart80.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chart" Target="../charts/chart82.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chart" Target="../charts/chart84.xml"/><Relationship Id="rId2" Type="http://schemas.openxmlformats.org/officeDocument/2006/relationships/chart" Target="../charts/chart83.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chart" Target="../charts/chart85.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chart" Target="../charts/chart87.xml"/><Relationship Id="rId2" Type="http://schemas.openxmlformats.org/officeDocument/2006/relationships/chart" Target="../charts/chart86.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chart" Target="../charts/chart88.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chart" Target="../charts/chart90.xml"/><Relationship Id="rId2" Type="http://schemas.openxmlformats.org/officeDocument/2006/relationships/chart" Target="../charts/chart89.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chart" Target="../charts/chart91.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2" Type="http://schemas.openxmlformats.org/officeDocument/2006/relationships/chart" Target="../charts/chart92.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chart" Target="../charts/chart94.xml"/><Relationship Id="rId2" Type="http://schemas.openxmlformats.org/officeDocument/2006/relationships/chart" Target="../charts/chart93.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chart" Target="../charts/chart95.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3" Type="http://schemas.openxmlformats.org/officeDocument/2006/relationships/chart" Target="../charts/chart97.xml"/><Relationship Id="rId2" Type="http://schemas.openxmlformats.org/officeDocument/2006/relationships/chart" Target="../charts/chart96.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chart" Target="../charts/chart98.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chart" Target="../charts/chart99.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3" Type="http://schemas.openxmlformats.org/officeDocument/2006/relationships/chart" Target="../charts/chart101.xml"/><Relationship Id="rId2" Type="http://schemas.openxmlformats.org/officeDocument/2006/relationships/chart" Target="../charts/chart100.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chart" Target="../charts/chart102.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3" Type="http://schemas.openxmlformats.org/officeDocument/2006/relationships/chart" Target="../charts/chart104.xml"/><Relationship Id="rId2" Type="http://schemas.openxmlformats.org/officeDocument/2006/relationships/chart" Target="../charts/chart103.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2" Type="http://schemas.openxmlformats.org/officeDocument/2006/relationships/chart" Target="../charts/chart105.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3" Type="http://schemas.openxmlformats.org/officeDocument/2006/relationships/chart" Target="../charts/chart107.xml"/><Relationship Id="rId2" Type="http://schemas.openxmlformats.org/officeDocument/2006/relationships/chart" Target="../charts/chart106.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chart" Target="../charts/chart108.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chart" Target="../charts/chart109.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3" Type="http://schemas.openxmlformats.org/officeDocument/2006/relationships/chart" Target="../charts/chart111.xml"/><Relationship Id="rId2" Type="http://schemas.openxmlformats.org/officeDocument/2006/relationships/chart" Target="../charts/chart110.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2" Type="http://schemas.openxmlformats.org/officeDocument/2006/relationships/chart" Target="../charts/chart112.xml"/><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3" Type="http://schemas.openxmlformats.org/officeDocument/2006/relationships/chart" Target="../charts/chart114.xml"/><Relationship Id="rId2" Type="http://schemas.openxmlformats.org/officeDocument/2006/relationships/chart" Target="../charts/chart113.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2" Type="http://schemas.openxmlformats.org/officeDocument/2006/relationships/chart" Target="../charts/chart115.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2" Type="http://schemas.openxmlformats.org/officeDocument/2006/relationships/chart" Target="../charts/chart116.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chart" Target="../charts/chart118.xml"/><Relationship Id="rId2" Type="http://schemas.openxmlformats.org/officeDocument/2006/relationships/chart" Target="../charts/chart117.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chart" Target="../charts/chart119.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3" Type="http://schemas.openxmlformats.org/officeDocument/2006/relationships/chart" Target="../charts/chart121.xml"/><Relationship Id="rId2" Type="http://schemas.openxmlformats.org/officeDocument/2006/relationships/chart" Target="../charts/chart120.xml"/><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2" Type="http://schemas.openxmlformats.org/officeDocument/2006/relationships/chart" Target="../charts/chart122.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chart" Target="../charts/chart123.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3" Type="http://schemas.openxmlformats.org/officeDocument/2006/relationships/chart" Target="../charts/chart125.xml"/><Relationship Id="rId2" Type="http://schemas.openxmlformats.org/officeDocument/2006/relationships/chart" Target="../charts/chart124.xml"/><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2" Type="http://schemas.openxmlformats.org/officeDocument/2006/relationships/chart" Target="../charts/chart126.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3" Type="http://schemas.openxmlformats.org/officeDocument/2006/relationships/chart" Target="../charts/chart128.xml"/><Relationship Id="rId2" Type="http://schemas.openxmlformats.org/officeDocument/2006/relationships/chart" Target="../charts/chart127.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2" Type="http://schemas.openxmlformats.org/officeDocument/2006/relationships/chart" Target="../charts/chart129.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2" Type="http://schemas.openxmlformats.org/officeDocument/2006/relationships/chart" Target="../charts/chart130.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3" Type="http://schemas.openxmlformats.org/officeDocument/2006/relationships/chart" Target="../charts/chart132.xml"/><Relationship Id="rId2" Type="http://schemas.openxmlformats.org/officeDocument/2006/relationships/chart" Target="../charts/chart131.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2" Type="http://schemas.openxmlformats.org/officeDocument/2006/relationships/chart" Target="../charts/chart133.xml"/><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2" Type="http://schemas.openxmlformats.org/officeDocument/2006/relationships/chart" Target="../charts/chart134.xml"/><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3" Type="http://schemas.openxmlformats.org/officeDocument/2006/relationships/chart" Target="../charts/chart136.xml"/><Relationship Id="rId2" Type="http://schemas.openxmlformats.org/officeDocument/2006/relationships/chart" Target="../charts/chart135.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5C5357-1EAD-679D-9239-0114E8BA1280}"/>
            </a:ext>
          </a:extLst>
        </p:cNvPr>
        <p:cNvGrpSpPr/>
        <p:nvPr/>
      </p:nvGrpSpPr>
      <p:grpSpPr>
        <a:xfrm>
          <a:off x="0" y="0"/>
          <a:ext cx="0" cy="0"/>
          <a:chOff x="0" y="0"/>
          <a:chExt cx="0" cy="0"/>
        </a:xfrm>
      </p:grpSpPr>
      <p:sp>
        <p:nvSpPr>
          <p:cNvPr id="5" name="Footer Placeholder 4">
            <a:extLst>
              <a:ext uri="{FF2B5EF4-FFF2-40B4-BE49-F238E27FC236}">
                <a16:creationId xmlns:a16="http://schemas.microsoft.com/office/drawing/2014/main" id="{B703EA35-BE5E-1C5E-90A2-832769020A7D}"/>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BF17E05E-42EB-459A-C820-FB1791BE7192}"/>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12" name="Head">
            <a:extLst>
              <a:ext uri="{FF2B5EF4-FFF2-40B4-BE49-F238E27FC236}">
                <a16:creationId xmlns:a16="http://schemas.microsoft.com/office/drawing/2014/main" id="{E4FDF012-9CEF-AB36-5CE6-1D14AAFDBBAA}"/>
              </a:ext>
            </a:extLst>
          </p:cNvPr>
          <p:cNvSpPr>
            <a:spLocks noGrp="1"/>
          </p:cNvSpPr>
          <p:nvPr>
            <p:ph type="body" sz="quarter" idx="18"/>
          </p:nvPr>
        </p:nvSpPr>
        <p:spPr>
          <a:xfrm>
            <a:off x="503238" y="774000"/>
            <a:ext cx="8136762" cy="360000"/>
          </a:xfrm>
        </p:spPr>
        <p:txBody>
          <a:bodyPr/>
          <a:lstStyle/>
          <a:p>
            <a:pPr>
              <a:defRPr sz="1200"/>
            </a:pPr>
            <a:r>
              <a:t>Based on price change | by Brand | Manual Shave Men | Walmart</a:t>
            </a:r>
          </a:p>
        </p:txBody>
      </p:sp>
      <p:sp>
        <p:nvSpPr>
          <p:cNvPr id="3" name="Title 2">
            <a:extLst>
              <a:ext uri="{FF2B5EF4-FFF2-40B4-BE49-F238E27FC236}">
                <a16:creationId xmlns:a16="http://schemas.microsoft.com/office/drawing/2014/main" id="{285EAE6E-D9D8-20EF-FB67-919AAADF1405}"/>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E7D55A7C-1DCC-667D-6BAC-B15A3B450E9A}"/>
              </a:ext>
            </a:extLst>
          </p:cNvPr>
          <p:cNvGraphicFramePr>
            <a:graphicFrameLocks/>
          </p:cNvGraphicFramePr>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C0EBDF26-B936-9FC8-F01E-A5B10461A571}"/>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08815F45-2CB8-FEFB-E6E2-2D3597FB9173}"/>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BC8BC16E-28DA-5AF5-9D24-C55497B9812B}"/>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DD2F4861-604F-A897-7E7E-E2926DBE5AEE}"/>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09F8E3B0-D9DA-B9E7-AA79-ED6CEB96E8D5}"/>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230F8BEB-DD10-8E27-9A1F-C1C7A671537A}"/>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0B0DABEF-4F65-DF27-A5F2-7BEED63DE5D7}"/>
              </a:ext>
            </a:extLst>
          </p:cNvPr>
          <p:cNvSpPr>
            <a:spLocks noGrp="1"/>
          </p:cNvSpPr>
          <p:nvPr>
            <p:ph type="dt" sz="half" idx="14"/>
          </p:nvPr>
        </p:nvSpPr>
        <p:spPr/>
        <p:txBody>
          <a:bodyPr/>
          <a:lstStyle/>
          <a:p>
            <a:fld id="{AD583B17-CA9E-4798-A693-AB6BF9A9B56D}" type="datetime1">
              <a:rPr lang="en-US" smtClean="0"/>
              <a:t>8/15/2025</a:t>
            </a:fld>
            <a:endParaRPr lang="en-US"/>
          </a:p>
        </p:txBody>
      </p:sp>
      <p:sp>
        <p:nvSpPr>
          <p:cNvPr id="9" name="Slide Number Placeholder 8">
            <a:extLst>
              <a:ext uri="{FF2B5EF4-FFF2-40B4-BE49-F238E27FC236}">
                <a16:creationId xmlns:a16="http://schemas.microsoft.com/office/drawing/2014/main" id="{3756CCC7-8A83-69D4-D6C4-5C7DC72DAD1B}"/>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6780879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D8DFC6-FB75-4675-F9C3-FA44DDBFC605}"/>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DBFC3E5F-1850-5973-A0CC-3FD179CB0A79}"/>
              </a:ext>
            </a:extLst>
          </p:cNvPr>
          <p:cNvGraphicFramePr>
            <a:graphicFrameLocks noGrp="1"/>
          </p:cNvGraphicFramePr>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996">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996">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996">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996">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996">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996">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4E94A162-F65B-47B8-91B4-0F87FD245A6A}"/>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735">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735">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735">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735">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735">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735">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0E29A85-0F22-08B9-82F2-FD94732D7F1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38A8ABBA-85E5-889B-7D41-89CCB110A911}"/>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EC2860DB-EE1A-55C1-890C-4ECD0993DB79}"/>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ollar Shave Club (2.9%) | Up &amp; Down Pricing | Walmart | Assumes no other are changing prices</a:t>
            </a:r>
          </a:p>
        </p:txBody>
      </p:sp>
      <p:sp>
        <p:nvSpPr>
          <p:cNvPr id="4" name="Title1">
            <a:extLst>
              <a:ext uri="{FF2B5EF4-FFF2-40B4-BE49-F238E27FC236}">
                <a16:creationId xmlns:a16="http://schemas.microsoft.com/office/drawing/2014/main" id="{F9439142-DF8D-6CAF-A500-B981436CEE9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56A6B66-84F7-4B38-7DAF-C4CF7BFBE440}"/>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DD4E23A-17B5-E8FA-0269-71E626BDBE84}"/>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4D1BD731-8A4E-D0A5-B790-2DCB5BEE8651}"/>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E928E6A3-4F34-2309-DED4-4EBFD4D60D8B}"/>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379413532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CF45B7-4063-19D0-2975-AB32CF2E3B9B}"/>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3965ABDA-1FFB-3A0F-A0E5-549A9CEB927E}"/>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7512E1A-F629-A688-B4B6-9410B2F49ECB}"/>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2C2E0A1C-4C0A-0FBD-BB59-5D4F7971096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Sensitive Refills 6 Pack | Walmart | Assuming no other products are changing prices</a:t>
            </a:r>
          </a:p>
        </p:txBody>
      </p:sp>
      <p:sp>
        <p:nvSpPr>
          <p:cNvPr id="10" name="Title 9">
            <a:extLst>
              <a:ext uri="{FF2B5EF4-FFF2-40B4-BE49-F238E27FC236}">
                <a16:creationId xmlns:a16="http://schemas.microsoft.com/office/drawing/2014/main" id="{7CFCCA26-60A5-1346-6A13-E11FC336D39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D4650449-E669-83E0-EC05-05CA25391AFB}"/>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DAA871B9-8B65-C6C2-FA3B-4FE07ED1BE4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A3DDBDD5-94A9-4F99-95BC-7D1D923C5750}"/>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B749A150-DA1A-CBE3-9FD6-22D4CD2BF5F5}"/>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AF1AA3E-A49D-8CBB-B0EF-B306E7D3F36A}"/>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45B818A9-027B-9AA1-8926-C2A5EA1E3CD2}"/>
              </a:ext>
            </a:extLst>
          </p:cNvPr>
          <p:cNvSpPr>
            <a:spLocks noGrp="1"/>
          </p:cNvSpPr>
          <p:nvPr>
            <p:ph type="sldNum" sz="quarter" idx="16"/>
          </p:nvPr>
        </p:nvSpPr>
        <p:spPr/>
        <p:txBody>
          <a:bodyPr/>
          <a:lstStyle/>
          <a:p>
            <a:fld id="{7B1F438D-4EAF-094E-9162-80CF3EF77236}" type="slidenum">
              <a:rPr lang="en-US" smtClean="0"/>
              <a:pPr/>
              <a:t>100</a:t>
            </a:fld>
            <a:endParaRPr lang="en-US"/>
          </a:p>
        </p:txBody>
      </p:sp>
      <p:sp>
        <p:nvSpPr>
          <p:cNvPr id="22" name="Rectangle 21">
            <a:extLst>
              <a:ext uri="{FF2B5EF4-FFF2-40B4-BE49-F238E27FC236}">
                <a16:creationId xmlns:a16="http://schemas.microsoft.com/office/drawing/2014/main" id="{5422BA23-92B2-D81C-42AC-5B686E0C297B}"/>
              </a:ext>
            </a:extLst>
          </p:cNvPr>
          <p:cNvSpPr/>
          <p:nvPr/>
        </p:nvSpPr>
        <p:spPr>
          <a:xfrm>
            <a:off x="972000" y="1458000"/>
            <a:ext cx="2260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32ABF3D2-EDC6-C2C5-12EC-283F05E264A7}"/>
              </a:ext>
            </a:extLst>
          </p:cNvPr>
          <p:cNvSpPr/>
          <p:nvPr/>
        </p:nvSpPr>
        <p:spPr>
          <a:xfrm>
            <a:off x="323280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42B7950D-F930-8CB8-452A-00B3263CA056}"/>
              </a:ext>
            </a:extLst>
          </p:cNvPr>
          <p:cNvSpPr/>
          <p:nvPr/>
        </p:nvSpPr>
        <p:spPr>
          <a:xfrm>
            <a:off x="4758840" y="1458000"/>
            <a:ext cx="1865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6714493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43731A-5498-9FB9-47F7-1B7F1024683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BA8DE60-B560-6119-09B5-B20B05E3D0E5}"/>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2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37.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28649AE-3DD4-AC17-0D9D-86EBB14968BB}"/>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4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0D203B3-A6F6-88C6-C52D-FFBF45F682C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F7BE78F-7884-E367-CE9C-BA576A7C7D3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7D8ECAFD-4F6C-5C2C-E122-EDF8CFFC856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Sensitive Refills 6 Pack (0.6%) | Up &amp; Down Pricing | Walmart | Assumes no other are changing prices</a:t>
            </a:r>
          </a:p>
        </p:txBody>
      </p:sp>
      <p:sp>
        <p:nvSpPr>
          <p:cNvPr id="4" name="Title1">
            <a:extLst>
              <a:ext uri="{FF2B5EF4-FFF2-40B4-BE49-F238E27FC236}">
                <a16:creationId xmlns:a16="http://schemas.microsoft.com/office/drawing/2014/main" id="{F2E0B099-BDA4-0CDD-A391-FEA4B94BF55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16C42DFD-CCF6-5576-6DE4-E5A476D1D7D1}"/>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4C82A80-26CD-89CF-3F9C-11B7069ECF78}"/>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55B28F07-2507-CF92-D1A5-4D112DAE257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DDEB2FC-9F64-039F-F9A6-2C18415E1973}"/>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9D6F5061-2B12-8A11-C981-EA7651CAA9FB}"/>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210152950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47FF56-9B13-F9E9-DE5D-ADD4A8F9727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1536F6B-90F5-2092-C140-522035F770A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606BC901-F64B-23F2-7A43-1CC919F256C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D93B9CB0-CC04-51F6-5AD8-B574D4E5A81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Sensitive Refills 12 Pack | Walmart | Assuming no other products are changing prices</a:t>
            </a:r>
          </a:p>
        </p:txBody>
      </p:sp>
      <p:sp>
        <p:nvSpPr>
          <p:cNvPr id="10" name="Title 9">
            <a:extLst>
              <a:ext uri="{FF2B5EF4-FFF2-40B4-BE49-F238E27FC236}">
                <a16:creationId xmlns:a16="http://schemas.microsoft.com/office/drawing/2014/main" id="{25071C30-E486-6F67-0EEE-C735F69CE8A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189B76C5-024A-CDFC-0E4C-AE1684B9027F}"/>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70828C3-CEA6-F47A-517A-CFF0C416EAC5}"/>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A66811C7-AF9E-CDB7-2C48-00C56C771B5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00DE7B5D-4BC8-6FD6-6D4D-7E8E1E7A60DC}"/>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8D9AA84-11A4-343F-046E-46995F7D0161}"/>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BEAE4E59-9CB4-60D1-9EA0-24F40176BEE4}"/>
              </a:ext>
            </a:extLst>
          </p:cNvPr>
          <p:cNvSpPr>
            <a:spLocks noGrp="1"/>
          </p:cNvSpPr>
          <p:nvPr>
            <p:ph type="sldNum" sz="quarter" idx="16"/>
          </p:nvPr>
        </p:nvSpPr>
        <p:spPr/>
        <p:txBody>
          <a:bodyPr/>
          <a:lstStyle/>
          <a:p>
            <a:fld id="{7B1F438D-4EAF-094E-9162-80CF3EF77236}" type="slidenum">
              <a:rPr lang="en-US" smtClean="0"/>
              <a:pPr/>
              <a:t>102</a:t>
            </a:fld>
            <a:endParaRPr lang="en-US"/>
          </a:p>
        </p:txBody>
      </p:sp>
      <p:sp>
        <p:nvSpPr>
          <p:cNvPr id="22" name="Rectangle 21">
            <a:extLst>
              <a:ext uri="{FF2B5EF4-FFF2-40B4-BE49-F238E27FC236}">
                <a16:creationId xmlns:a16="http://schemas.microsoft.com/office/drawing/2014/main" id="{2E8A8AE0-8BDB-EFFF-A618-45A5C82CDD26}"/>
              </a:ext>
            </a:extLst>
          </p:cNvPr>
          <p:cNvSpPr/>
          <p:nvPr/>
        </p:nvSpPr>
        <p:spPr>
          <a:xfrm>
            <a:off x="972000" y="1458000"/>
            <a:ext cx="5086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00999199-88AD-F7C8-F701-247BE75C4391}"/>
              </a:ext>
            </a:extLst>
          </p:cNvPr>
          <p:cNvSpPr/>
          <p:nvPr/>
        </p:nvSpPr>
        <p:spPr>
          <a:xfrm>
            <a:off x="148068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CBCA90D9-3F6D-E03A-A151-C8F54EA141ED}"/>
              </a:ext>
            </a:extLst>
          </p:cNvPr>
          <p:cNvSpPr/>
          <p:nvPr/>
        </p:nvSpPr>
        <p:spPr>
          <a:xfrm>
            <a:off x="3006720" y="1458000"/>
            <a:ext cx="3617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423964880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0C9444-666D-1830-1856-19EA80C9E1E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341B2A2-E8FD-2A5D-3CF1-395396FA9010}"/>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2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8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3636D5E-7AB1-C1F5-B290-B13439D5D9CF}"/>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9.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E9D527A3-733B-489F-6E66-B0413AF8DEA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1446051-A9F3-0C71-3F42-BB21FD7029EB}"/>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FD77BC36-3362-47F9-63F5-AAA9266855E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Sensitive Refills 12 Pack (0.4%) | Up &amp; Down Pricing | Walmart | Assumes no other are changing prices</a:t>
            </a:r>
          </a:p>
        </p:txBody>
      </p:sp>
      <p:sp>
        <p:nvSpPr>
          <p:cNvPr id="4" name="Title1">
            <a:extLst>
              <a:ext uri="{FF2B5EF4-FFF2-40B4-BE49-F238E27FC236}">
                <a16:creationId xmlns:a16="http://schemas.microsoft.com/office/drawing/2014/main" id="{C0009DAE-DAEB-224E-7E68-0B717880A09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753F7BA-FB00-8A79-566E-BFF0FF0CECB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4F5348B-8A6C-B1A1-ABF9-3B4973E0389E}"/>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E35491F7-E74E-0ED6-E721-783060EFEE13}"/>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A5B8F15-E4D9-583D-2901-8C3B5886780E}"/>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F5824B8D-4F8A-0035-F439-224BAD8AA252}"/>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161047040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79287-AE98-BBDF-E04C-7BFB3C210D18}"/>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59A9208-F5A1-E551-57CB-BE1CC648189D}"/>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4793F264-74E2-4FF4-3BB6-164EA69CFD7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D194CA80-931B-5480-A393-C32BF6613A88}"/>
              </a:ext>
            </a:extLst>
          </p:cNvPr>
          <p:cNvSpPr>
            <a:spLocks noGrp="1"/>
          </p:cNvSpPr>
          <p:nvPr>
            <p:ph type="body" sz="quarter" idx="18"/>
          </p:nvPr>
        </p:nvSpPr>
        <p:spPr>
          <a:xfrm>
            <a:off x="503238" y="774000"/>
            <a:ext cx="8136762" cy="360000"/>
          </a:xfrm>
        </p:spPr>
        <p:txBody>
          <a:bodyPr/>
          <a:lstStyle/>
          <a:p>
            <a:pPr>
              <a:defRPr sz="1200">
                <a:latin typeface="Nexa Bold (Headings)"/>
              </a:defRPr>
            </a:pPr>
            <a:r>
              <a:t>Blades Innovation (1) | Price Elasticity | Walmart | Assumes no other products are changing prices</a:t>
            </a:r>
          </a:p>
        </p:txBody>
      </p:sp>
      <p:sp>
        <p:nvSpPr>
          <p:cNvPr id="18" name="Title 17">
            <a:extLst>
              <a:ext uri="{FF2B5EF4-FFF2-40B4-BE49-F238E27FC236}">
                <a16:creationId xmlns:a16="http://schemas.microsoft.com/office/drawing/2014/main" id="{B8AFB472-5191-506B-B2E7-5D8E53B71D34}"/>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EA7C95F6-D793-BB0D-92B8-CAD4E7392A99}"/>
              </a:ext>
            </a:extLst>
          </p:cNvPr>
          <p:cNvGraphicFramePr>
            <a:graphicFrameLocks/>
          </p:cNvGraphicFramePr>
          <p:nvPr/>
        </p:nvGraphicFramePr>
        <p:xfrm>
          <a:off x="4579258" y="1141495"/>
          <a:ext cx="4057904" cy="1285426"/>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3 Blade Pro Sensitive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5 Blade Sensitive Refills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Quattro Four Blade Refill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Schick Quattro Four Blade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CFCFBC64-36EB-86EA-E926-D8B9142528AB}"/>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86F47B8B-67C3-ABF2-8251-0D552931FEF2}"/>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500092FE-0861-34DF-6EDB-7D73999F8958}"/>
              </a:ext>
            </a:extLst>
          </p:cNvPr>
          <p:cNvSpPr>
            <a:spLocks noGrp="1"/>
          </p:cNvSpPr>
          <p:nvPr>
            <p:ph type="sldNum" sz="quarter" idx="16"/>
          </p:nvPr>
        </p:nvSpPr>
        <p:spPr/>
        <p:txBody>
          <a:bodyPr/>
          <a:lstStyle/>
          <a:p>
            <a:fld id="{7B1F438D-4EAF-094E-9162-80CF3EF77236}" type="slidenum">
              <a:rPr lang="en-US" smtClean="0"/>
              <a:pPr/>
              <a:t>104</a:t>
            </a:fld>
            <a:endParaRPr lang="en-US"/>
          </a:p>
        </p:txBody>
      </p:sp>
      <p:sp>
        <p:nvSpPr>
          <p:cNvPr id="3" name="TextBox Y">
            <a:extLst>
              <a:ext uri="{FF2B5EF4-FFF2-40B4-BE49-F238E27FC236}">
                <a16:creationId xmlns:a16="http://schemas.microsoft.com/office/drawing/2014/main" id="{3B2FAEF7-8F9C-7B7A-F69D-CE90073C4359}"/>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95042382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AB4673-78C2-3529-754B-F78E8A3AD33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F19198F-C4C2-2351-86B3-0DEFCB908E27}"/>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8C553995-BDB7-4AD6-3B99-F5632CA3589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CA5197D-EE1D-E4BB-AC81-8DBC6CD0A3E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3 Blade Pro Sensitive Refills 6 Pack | Walmart | Assuming no other products are changing prices</a:t>
            </a:r>
          </a:p>
        </p:txBody>
      </p:sp>
      <p:sp>
        <p:nvSpPr>
          <p:cNvPr id="10" name="Title 9">
            <a:extLst>
              <a:ext uri="{FF2B5EF4-FFF2-40B4-BE49-F238E27FC236}">
                <a16:creationId xmlns:a16="http://schemas.microsoft.com/office/drawing/2014/main" id="{7ADC176E-2B79-215C-E35F-7375A8095E2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CAEF733-9B78-8E23-34C7-EBA065BA2476}"/>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D0C2CE7B-5A1C-413B-3A28-7E975D0E4F25}"/>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3D5D34E-9910-1437-9BEC-BE1F14B025A0}"/>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B2FAAA9-6647-EC00-5E7B-6548793F6242}"/>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5B5DEFD-F870-1F88-D673-FBC4642769F8}"/>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4DA1EC51-DCE7-2BF4-39C0-D4F0B95AE715}"/>
              </a:ext>
            </a:extLst>
          </p:cNvPr>
          <p:cNvSpPr>
            <a:spLocks noGrp="1"/>
          </p:cNvSpPr>
          <p:nvPr>
            <p:ph type="sldNum" sz="quarter" idx="16"/>
          </p:nvPr>
        </p:nvSpPr>
        <p:spPr/>
        <p:txBody>
          <a:bodyPr/>
          <a:lstStyle/>
          <a:p>
            <a:fld id="{7B1F438D-4EAF-094E-9162-80CF3EF77236}" type="slidenum">
              <a:rPr lang="en-US" smtClean="0"/>
              <a:pPr/>
              <a:t>105</a:t>
            </a:fld>
            <a:endParaRPr lang="en-US"/>
          </a:p>
        </p:txBody>
      </p:sp>
      <p:sp>
        <p:nvSpPr>
          <p:cNvPr id="22" name="Rectangle 21">
            <a:extLst>
              <a:ext uri="{FF2B5EF4-FFF2-40B4-BE49-F238E27FC236}">
                <a16:creationId xmlns:a16="http://schemas.microsoft.com/office/drawing/2014/main" id="{D0784A0E-CA40-8CD7-869C-E29B1563CAA4}"/>
              </a:ext>
            </a:extLst>
          </p:cNvPr>
          <p:cNvSpPr/>
          <p:nvPr/>
        </p:nvSpPr>
        <p:spPr>
          <a:xfrm>
            <a:off x="97200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8BCB99DB-3E16-C7C1-24F8-D7AD171959DC}"/>
              </a:ext>
            </a:extLst>
          </p:cNvPr>
          <p:cNvSpPr/>
          <p:nvPr/>
        </p:nvSpPr>
        <p:spPr>
          <a:xfrm>
            <a:off x="3063240" y="1458000"/>
            <a:ext cx="14695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25560C8C-AED4-FA51-785E-B0894548EB78}"/>
              </a:ext>
            </a:extLst>
          </p:cNvPr>
          <p:cNvSpPr/>
          <p:nvPr/>
        </p:nvSpPr>
        <p:spPr>
          <a:xfrm>
            <a:off x="453276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57671372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01A172-61DC-0788-D2BD-8A43C2760DF7}"/>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886A557-9388-5680-2D0E-7E4227A2965F}"/>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2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4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7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4EC3EA5-D5A6-97DC-E6E7-FA4917124A2F}"/>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28A3D747-9BDF-6F67-4BE5-FD95F4EE3D1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85D4391-A80C-1F96-2C15-38CFF9C152E3}"/>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6D28F4DC-F516-0754-CE37-4A794294700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3 Blade Pro Sensitive Refills 6 Pack (0.0%) | Up &amp; Down Pricing | Walmart | Assumes no other are changing prices</a:t>
            </a:r>
          </a:p>
        </p:txBody>
      </p:sp>
      <p:sp>
        <p:nvSpPr>
          <p:cNvPr id="4" name="Title1">
            <a:extLst>
              <a:ext uri="{FF2B5EF4-FFF2-40B4-BE49-F238E27FC236}">
                <a16:creationId xmlns:a16="http://schemas.microsoft.com/office/drawing/2014/main" id="{1CB496B9-DC63-D56E-D7D6-EE38BBD5002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7C26CCF-C776-9DB4-4512-37F1473B22CB}"/>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E44BE53-2103-6D68-6807-F2892F37687E}"/>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24A11988-418D-6B5A-6314-C042F58F185C}"/>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FEC8C2B-92D7-BBC4-D131-1DF8C85D345A}"/>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B3DE8583-9DA6-844F-A75D-53E1E30F0E0C}"/>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211501719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0866E8-D4A6-343F-6F5D-9EAD8059C39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51363194-3055-3E17-9CBA-1AD9422138D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4242129-3E56-7CDE-41AE-90353710543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BA96DB91-81D3-58F3-6982-E4C43F4AB40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Sensitive Refills 4 Pack | Walmart | Assuming no other products are changing prices</a:t>
            </a:r>
          </a:p>
        </p:txBody>
      </p:sp>
      <p:sp>
        <p:nvSpPr>
          <p:cNvPr id="10" name="Title 9">
            <a:extLst>
              <a:ext uri="{FF2B5EF4-FFF2-40B4-BE49-F238E27FC236}">
                <a16:creationId xmlns:a16="http://schemas.microsoft.com/office/drawing/2014/main" id="{287A0C97-079B-0C6C-B2AE-A1702025F99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90CBE26F-9FCD-520E-E578-4237B22894EB}"/>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64838BA-DE9A-0E05-B9E9-5A216EC9447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8732AD51-8B87-4028-64C8-AE366207E5A3}"/>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2AFD883-06F3-DA96-FC8B-DCF989ADFA21}"/>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20B8052-0531-F7CF-1BD9-ECF2A481EB46}"/>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DEDB726D-781B-51AA-B4E6-BF8D09CD43FC}"/>
              </a:ext>
            </a:extLst>
          </p:cNvPr>
          <p:cNvSpPr>
            <a:spLocks noGrp="1"/>
          </p:cNvSpPr>
          <p:nvPr>
            <p:ph type="sldNum" sz="quarter" idx="16"/>
          </p:nvPr>
        </p:nvSpPr>
        <p:spPr/>
        <p:txBody>
          <a:bodyPr/>
          <a:lstStyle/>
          <a:p>
            <a:fld id="{7B1F438D-4EAF-094E-9162-80CF3EF77236}" type="slidenum">
              <a:rPr lang="en-US" smtClean="0"/>
              <a:pPr/>
              <a:t>107</a:t>
            </a:fld>
            <a:endParaRPr lang="en-US"/>
          </a:p>
        </p:txBody>
      </p:sp>
      <p:sp>
        <p:nvSpPr>
          <p:cNvPr id="22" name="Rectangle 21">
            <a:extLst>
              <a:ext uri="{FF2B5EF4-FFF2-40B4-BE49-F238E27FC236}">
                <a16:creationId xmlns:a16="http://schemas.microsoft.com/office/drawing/2014/main" id="{905D52A6-78DB-7340-50DA-3EBF191341B6}"/>
              </a:ext>
            </a:extLst>
          </p:cNvPr>
          <p:cNvSpPr/>
          <p:nvPr/>
        </p:nvSpPr>
        <p:spPr>
          <a:xfrm>
            <a:off x="972000" y="1458000"/>
            <a:ext cx="23173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599B0016-2A6C-EBAC-0622-9F9D00D9550A}"/>
              </a:ext>
            </a:extLst>
          </p:cNvPr>
          <p:cNvSpPr/>
          <p:nvPr/>
        </p:nvSpPr>
        <p:spPr>
          <a:xfrm>
            <a:off x="3289320" y="1458000"/>
            <a:ext cx="1695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BC360BC6-C85B-F678-15D6-AF6D58967942}"/>
              </a:ext>
            </a:extLst>
          </p:cNvPr>
          <p:cNvSpPr/>
          <p:nvPr/>
        </p:nvSpPr>
        <p:spPr>
          <a:xfrm>
            <a:off x="4984920" y="1458000"/>
            <a:ext cx="1639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24241618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E0319D-C5F7-73D1-294D-0B8DC6DAC4B3}"/>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6B2348C-CE59-12B3-5A4F-1FCB7DCD6879}"/>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3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7.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1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954F5A8-08DA-68FB-889B-E035AD7A446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921AFD3-E4A9-664D-CB9D-2FFB9E7C545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14AA53B-F8CC-8FA7-A105-C30E5DCF1CF3}"/>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2FEF800B-4FC0-555B-CEE3-5AE911FCAC7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Sensitive Refills 4 Pack (0.0%) | Up &amp; Down Pricing | Walmart | Assumes no other are changing prices</a:t>
            </a:r>
          </a:p>
        </p:txBody>
      </p:sp>
      <p:sp>
        <p:nvSpPr>
          <p:cNvPr id="4" name="Title1">
            <a:extLst>
              <a:ext uri="{FF2B5EF4-FFF2-40B4-BE49-F238E27FC236}">
                <a16:creationId xmlns:a16="http://schemas.microsoft.com/office/drawing/2014/main" id="{34899244-7309-B622-1738-F8E6464811C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A9EBE32-C986-1378-EEF4-AB4425B00B7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867C0518-BF06-10A4-F1FD-C6B57BE949C6}"/>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6EFA7BE-5D80-3D0D-3730-91190D045E28}"/>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EC89127-2B20-5CE9-2E86-ADBD0AE3D730}"/>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FE6D6AB2-3F69-F176-D705-26A2A19DD3B0}"/>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88295029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4F0179-39BD-D4C9-33A0-F645E23C410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C4F8B29-5F23-19F9-A1A4-9F370DE0A392}"/>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C9B7516-9762-D345-EB7A-22EDECCCC09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E45ABB3D-0508-F04F-DA9B-10A672C9D21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Quattro Four Blade Refills 3 Pack | Walmart | Assuming no other products are changing prices</a:t>
            </a:r>
          </a:p>
        </p:txBody>
      </p:sp>
      <p:sp>
        <p:nvSpPr>
          <p:cNvPr id="10" name="Title 9">
            <a:extLst>
              <a:ext uri="{FF2B5EF4-FFF2-40B4-BE49-F238E27FC236}">
                <a16:creationId xmlns:a16="http://schemas.microsoft.com/office/drawing/2014/main" id="{F27A29AD-1613-667D-62B4-6398BCBADDF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DC5FEA4-AC3A-9B45-23B1-382D37C66AE0}"/>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E6ED75CD-80A2-2F7B-4678-9FEC8F2CD4A3}"/>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E33214F2-A70F-237F-739F-CC9D060D4CDB}"/>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44449AEB-A5E8-1657-AEBE-61BA94A12A88}"/>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0553FCF-A0A4-9262-C19B-D62DA941E1F6}"/>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389AA58D-963D-F09A-F7D3-A0BDE5F4B151}"/>
              </a:ext>
            </a:extLst>
          </p:cNvPr>
          <p:cNvSpPr>
            <a:spLocks noGrp="1"/>
          </p:cNvSpPr>
          <p:nvPr>
            <p:ph type="sldNum" sz="quarter" idx="16"/>
          </p:nvPr>
        </p:nvSpPr>
        <p:spPr/>
        <p:txBody>
          <a:bodyPr/>
          <a:lstStyle/>
          <a:p>
            <a:fld id="{7B1F438D-4EAF-094E-9162-80CF3EF77236}" type="slidenum">
              <a:rPr lang="en-US" smtClean="0"/>
              <a:pPr/>
              <a:t>109</a:t>
            </a:fld>
            <a:endParaRPr lang="en-US"/>
          </a:p>
        </p:txBody>
      </p:sp>
      <p:sp>
        <p:nvSpPr>
          <p:cNvPr id="22" name="Rectangle 21">
            <a:extLst>
              <a:ext uri="{FF2B5EF4-FFF2-40B4-BE49-F238E27FC236}">
                <a16:creationId xmlns:a16="http://schemas.microsoft.com/office/drawing/2014/main" id="{00EA4FF1-39C2-4F35-CC3B-ED833DB17982}"/>
              </a:ext>
            </a:extLst>
          </p:cNvPr>
          <p:cNvSpPr/>
          <p:nvPr/>
        </p:nvSpPr>
        <p:spPr>
          <a:xfrm>
            <a:off x="972000" y="1458000"/>
            <a:ext cx="5652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905756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46BF0C-ACF1-4EC7-E5C1-096CB5B11505}"/>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42C6D29-AC7E-139D-3FB8-B967F1E4ACD6}"/>
              </a:ext>
            </a:extLst>
          </p:cNvPr>
          <p:cNvGraphicFramePr>
            <a:graphicFrameLocks noGrp="1"/>
          </p:cNvGraphicFramePr>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996">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996">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996">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996">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996">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996">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E8BF4D02-96F8-7DFA-6587-4CABA0E3B08C}"/>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735">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735">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735">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735">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735">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735">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096F213-224A-A671-50F2-830C065B16B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933AAA8-38C9-FF9E-5A8F-D3547FDD07F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78D82E9B-03E7-385C-5E44-21A58FA42BE1}"/>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Van Der Hagen (2.0%) | Up &amp; Down Pricing | Walmart | Assumes no other are changing prices</a:t>
            </a:r>
          </a:p>
        </p:txBody>
      </p:sp>
      <p:sp>
        <p:nvSpPr>
          <p:cNvPr id="4" name="Title1">
            <a:extLst>
              <a:ext uri="{FF2B5EF4-FFF2-40B4-BE49-F238E27FC236}">
                <a16:creationId xmlns:a16="http://schemas.microsoft.com/office/drawing/2014/main" id="{D7EB9B4B-5965-21DA-26C4-4DF5C266AF1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8593AA9-98BB-AA3B-C330-84834245E893}"/>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642B825A-EB1C-78F6-21BF-941A6975E072}"/>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99680096-6309-8EC0-EAAC-CC4EA4E00E16}"/>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480944E1-14D7-AB4D-8536-25AD479F09C4}"/>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265374024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9C96DF-02BA-63C7-D77C-785DB9BD71A5}"/>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564C82D1-3958-7189-DDC8-8ACC1C9463DF}"/>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Blade Refills 4 Pack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5 Sensitive Disposable Razors 8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24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5 Sensitive Disposable Razors 2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5 Sensitive Disposable Razors 4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Body &amp; Groin Disposable Razors 3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Ultimate Comfort Disposable Razors 3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8AD738D-1DE2-8687-3C0E-0BE4782AFD3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rry's Men Five Blade Refills 8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Fusion 5 Proglide Blade Refills 12 Pack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Dollar Shave Club 6 Blades Blade Refills 8 Pack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2 Sensitive Disposable Razors 24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5 Sensitive Disposable Razors 2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5 Sensitive Disposable Razors 4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Body &amp; Groin Disposable Razors 3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chick Hydro 5 Ultimate Comfort Disposable Razors 3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8DAAD7C-B516-2B1B-EF0C-83E40BB6A072}"/>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8B37FD9-00BA-E928-A02C-7D2512C12B0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53BC3A2E-2D70-70BE-27BD-4350DDC9363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Quattro Four Blade Refills 3 Pack (0.0%) | Up &amp; Down Pricing | Walmart | Assumes no other are changing prices</a:t>
            </a:r>
          </a:p>
        </p:txBody>
      </p:sp>
      <p:sp>
        <p:nvSpPr>
          <p:cNvPr id="4" name="Title1">
            <a:extLst>
              <a:ext uri="{FF2B5EF4-FFF2-40B4-BE49-F238E27FC236}">
                <a16:creationId xmlns:a16="http://schemas.microsoft.com/office/drawing/2014/main" id="{0F2D5250-C631-555B-68B0-80B1C4E4E52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B910435-524C-7527-120D-0DE78C8BA65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328362C-01EE-2D12-EAD3-6B49DB94ED7D}"/>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0C4B42C0-AB80-F0EA-4346-908D225B2AA3}"/>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38D7F73-A5F4-E9F1-52AC-476824529B3C}"/>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C376A40F-6332-5ABA-DA5F-B52EDAE33271}"/>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359750349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ACAFF8-BED3-6766-F687-841D3FA416B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A84513D-5AF3-7920-0E41-68AF1AC6833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7A20457E-08D7-BD4E-BAE6-4B15815AFBB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28A41E8E-63BA-F6FB-0439-4BB3F8CD8FB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Quattro Four Blade Refills 6 Pack | Walmart | Assuming no other products are changing prices</a:t>
            </a:r>
          </a:p>
        </p:txBody>
      </p:sp>
      <p:sp>
        <p:nvSpPr>
          <p:cNvPr id="10" name="Title 9">
            <a:extLst>
              <a:ext uri="{FF2B5EF4-FFF2-40B4-BE49-F238E27FC236}">
                <a16:creationId xmlns:a16="http://schemas.microsoft.com/office/drawing/2014/main" id="{3B4AE9C9-428B-5C6C-EADF-6D07A1768AA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E4E53608-AF8F-47C2-DB68-B02FB1F3F917}"/>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0EA441C8-969B-D152-0131-88438442269B}"/>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5FB02B5F-520F-29CC-4DE3-81766B435AF9}"/>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EA874FBD-1336-8842-3EA0-D8A69EAC5513}"/>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BBB401A-AEF2-52AC-E5B8-955073E97D5E}"/>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4E0F7185-1E7B-E764-F926-1BCBBED8C1F5}"/>
              </a:ext>
            </a:extLst>
          </p:cNvPr>
          <p:cNvSpPr>
            <a:spLocks noGrp="1"/>
          </p:cNvSpPr>
          <p:nvPr>
            <p:ph type="sldNum" sz="quarter" idx="16"/>
          </p:nvPr>
        </p:nvSpPr>
        <p:spPr/>
        <p:txBody>
          <a:bodyPr/>
          <a:lstStyle/>
          <a:p>
            <a:fld id="{7B1F438D-4EAF-094E-9162-80CF3EF77236}" type="slidenum">
              <a:rPr lang="en-US" smtClean="0"/>
              <a:pPr/>
              <a:t>111</a:t>
            </a:fld>
            <a:endParaRPr lang="en-US"/>
          </a:p>
        </p:txBody>
      </p:sp>
      <p:sp>
        <p:nvSpPr>
          <p:cNvPr id="22" name="Rectangle 21">
            <a:extLst>
              <a:ext uri="{FF2B5EF4-FFF2-40B4-BE49-F238E27FC236}">
                <a16:creationId xmlns:a16="http://schemas.microsoft.com/office/drawing/2014/main" id="{0ABA8757-D055-47CA-2B7D-D605C3E448FA}"/>
              </a:ext>
            </a:extLst>
          </p:cNvPr>
          <p:cNvSpPr/>
          <p:nvPr/>
        </p:nvSpPr>
        <p:spPr>
          <a:xfrm>
            <a:off x="972000" y="1458000"/>
            <a:ext cx="23173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B69C4CDA-275A-429C-2E16-007795898BEC}"/>
              </a:ext>
            </a:extLst>
          </p:cNvPr>
          <p:cNvSpPr/>
          <p:nvPr/>
        </p:nvSpPr>
        <p:spPr>
          <a:xfrm>
            <a:off x="3289320" y="1458000"/>
            <a:ext cx="1695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1FDBE947-C411-8CA7-A190-85AA040B5A1D}"/>
              </a:ext>
            </a:extLst>
          </p:cNvPr>
          <p:cNvSpPr/>
          <p:nvPr/>
        </p:nvSpPr>
        <p:spPr>
          <a:xfrm>
            <a:off x="498492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a:extLst>
              <a:ext uri="{FF2B5EF4-FFF2-40B4-BE49-F238E27FC236}">
                <a16:creationId xmlns:a16="http://schemas.microsoft.com/office/drawing/2014/main" id="{20F02365-7270-C1CC-18FB-4BB2C13042C6}"/>
              </a:ext>
            </a:extLst>
          </p:cNvPr>
          <p:cNvSpPr/>
          <p:nvPr/>
        </p:nvSpPr>
        <p:spPr>
          <a:xfrm>
            <a:off x="526752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68494137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C46B6B-1DF1-F73A-5FFC-2A96F40EE4B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3D53A13-8139-CCA3-0D0A-C87ECCF81C09}"/>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an Der Hagen Men Double Edge Blade Refills 10 Pack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5 Sensitive Disposable Razors 8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24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5 Sensitive Disposable Razors 2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5 Sensitive Disposable Razors 4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Body &amp; Groin Disposable Razors 3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Ultimate Comfort Disposable Razors 3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0E68BF1-1C09-A937-0CEA-4FACA3D5F609}"/>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rry's Men Five Blade Refills 4 Pack (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Fusion 5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Gillette Mach 3 Blade Refills 4 Pack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Easy Fit 5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Dollar Shave Club 6 Blades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Body &amp; Groin Disposable Razors 3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chick Xtreme 2 Sensitive Disposable Razors 24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C76BAFE-3DC6-80F8-0956-3396913D27B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E0B356B-89E3-9023-F93F-F49B6E0BC212}"/>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F72B8637-A0C1-0F88-84D1-12397555853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Quattro Four Blade Refills 6 Pack (0.0%) | Up &amp; Down Pricing | Walmart | Assumes no other are changing prices</a:t>
            </a:r>
          </a:p>
        </p:txBody>
      </p:sp>
      <p:sp>
        <p:nvSpPr>
          <p:cNvPr id="4" name="Title1">
            <a:extLst>
              <a:ext uri="{FF2B5EF4-FFF2-40B4-BE49-F238E27FC236}">
                <a16:creationId xmlns:a16="http://schemas.microsoft.com/office/drawing/2014/main" id="{6A6CB262-2371-B686-D4D7-72F661F5688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DAD6B7F-EC12-B29B-944D-5ED574E4C4F1}"/>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6EA701A-8AB7-E199-CFC2-B514F2B648A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091AE18F-4E93-C1C5-3649-5E444CB8D7F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E8ABEF5-B99D-E54C-17ED-5FCE988B44B5}"/>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83D987B3-C44A-69CC-04A0-A2918FE10956}"/>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203614573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061651-1981-4D43-C867-B5F5BAE68E1D}"/>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7B350E8B-B5E5-C3CA-10F9-77D8EE090BC3}"/>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0AC232AB-3634-324A-36F0-DFD57F28AD4B}"/>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97828E34-F720-62A9-CDA7-713014CD76C0}"/>
              </a:ext>
            </a:extLst>
          </p:cNvPr>
          <p:cNvSpPr>
            <a:spLocks noGrp="1"/>
          </p:cNvSpPr>
          <p:nvPr>
            <p:ph type="body" sz="quarter" idx="18"/>
          </p:nvPr>
        </p:nvSpPr>
        <p:spPr>
          <a:xfrm>
            <a:off x="503238" y="774000"/>
            <a:ext cx="8136762" cy="360000"/>
          </a:xfrm>
        </p:spPr>
        <p:txBody>
          <a:bodyPr/>
          <a:lstStyle/>
          <a:p>
            <a:pPr>
              <a:defRPr sz="1200">
                <a:latin typeface="Nexa Bold (Headings)"/>
              </a:defRPr>
            </a:pPr>
            <a:r>
              <a:t>Blades Innovation (2) | Price Elasticity | Walmart | Assumes no other products are changing prices</a:t>
            </a:r>
          </a:p>
        </p:txBody>
      </p:sp>
      <p:sp>
        <p:nvSpPr>
          <p:cNvPr id="18" name="Title 17">
            <a:extLst>
              <a:ext uri="{FF2B5EF4-FFF2-40B4-BE49-F238E27FC236}">
                <a16:creationId xmlns:a16="http://schemas.microsoft.com/office/drawing/2014/main" id="{C2456034-53DC-D305-A780-8F3953302CDE}"/>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9E5DC929-14A4-AE4B-95F4-E645E725837A}"/>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3 Blade Ingrown Defense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5 Blade Advanced Hydration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Hydro 5 Blade Chrome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50947EF5-5F3C-C5D3-1338-FB54F962462B}"/>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9272045E-C6AD-427A-7F3D-79DFFB70BA5E}"/>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75E89699-AB0E-3CAF-4F87-612E5271EBF0}"/>
              </a:ext>
            </a:extLst>
          </p:cNvPr>
          <p:cNvSpPr>
            <a:spLocks noGrp="1"/>
          </p:cNvSpPr>
          <p:nvPr>
            <p:ph type="sldNum" sz="quarter" idx="16"/>
          </p:nvPr>
        </p:nvSpPr>
        <p:spPr/>
        <p:txBody>
          <a:bodyPr/>
          <a:lstStyle/>
          <a:p>
            <a:fld id="{7B1F438D-4EAF-094E-9162-80CF3EF77236}" type="slidenum">
              <a:rPr lang="en-US" smtClean="0"/>
              <a:pPr/>
              <a:t>113</a:t>
            </a:fld>
            <a:endParaRPr lang="en-US"/>
          </a:p>
        </p:txBody>
      </p:sp>
      <p:sp>
        <p:nvSpPr>
          <p:cNvPr id="3" name="TextBox Y">
            <a:extLst>
              <a:ext uri="{FF2B5EF4-FFF2-40B4-BE49-F238E27FC236}">
                <a16:creationId xmlns:a16="http://schemas.microsoft.com/office/drawing/2014/main" id="{6A1B08A4-7940-B05E-D7BE-EFE4AC57662F}"/>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71777345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62B4B1-3CC3-1045-6511-FAC5A9F852E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86A29B3-655A-03BB-4B45-FC76A8F84816}"/>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238F92F5-33F0-5065-5378-8EC869BA8F2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959786C0-023D-1BC5-F839-CCF74C6A95D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3 Blade Ingrown Defense Refills 6 Pack | Walmart | Assuming no other products are changing prices</a:t>
            </a:r>
          </a:p>
        </p:txBody>
      </p:sp>
      <p:sp>
        <p:nvSpPr>
          <p:cNvPr id="10" name="Title 9">
            <a:extLst>
              <a:ext uri="{FF2B5EF4-FFF2-40B4-BE49-F238E27FC236}">
                <a16:creationId xmlns:a16="http://schemas.microsoft.com/office/drawing/2014/main" id="{9A5B3EEE-33B4-C270-2C7F-7492EA36CF2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50D38601-4F67-5FBD-A7F1-76B095BAEE49}"/>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4A94A4C-C588-D932-9C53-1AEDA79E00A8}"/>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CDBAE933-B9A4-CDF7-0B40-13648C6ACDF4}"/>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4210959-8258-E61C-C866-0E4AEF60953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1DDB669-B9BA-97E0-810C-B2E04D391106}"/>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2D011775-AC2A-1C68-A9FB-4423AC688B66}"/>
              </a:ext>
            </a:extLst>
          </p:cNvPr>
          <p:cNvSpPr>
            <a:spLocks noGrp="1"/>
          </p:cNvSpPr>
          <p:nvPr>
            <p:ph type="sldNum" sz="quarter" idx="16"/>
          </p:nvPr>
        </p:nvSpPr>
        <p:spPr/>
        <p:txBody>
          <a:bodyPr/>
          <a:lstStyle/>
          <a:p>
            <a:fld id="{7B1F438D-4EAF-094E-9162-80CF3EF77236}" type="slidenum">
              <a:rPr lang="en-US" smtClean="0"/>
              <a:pPr/>
              <a:t>114</a:t>
            </a:fld>
            <a:endParaRPr lang="en-US"/>
          </a:p>
        </p:txBody>
      </p:sp>
      <p:sp>
        <p:nvSpPr>
          <p:cNvPr id="22" name="Rectangle 21">
            <a:extLst>
              <a:ext uri="{FF2B5EF4-FFF2-40B4-BE49-F238E27FC236}">
                <a16:creationId xmlns:a16="http://schemas.microsoft.com/office/drawing/2014/main" id="{B83531BA-D513-6FBE-6E77-4EE13340DB39}"/>
              </a:ext>
            </a:extLst>
          </p:cNvPr>
          <p:cNvSpPr/>
          <p:nvPr/>
        </p:nvSpPr>
        <p:spPr>
          <a:xfrm>
            <a:off x="972000" y="1458000"/>
            <a:ext cx="2260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962168C2-087F-0FD9-BAAE-5BEC1007A40F}"/>
              </a:ext>
            </a:extLst>
          </p:cNvPr>
          <p:cNvSpPr/>
          <p:nvPr/>
        </p:nvSpPr>
        <p:spPr>
          <a:xfrm>
            <a:off x="3232800" y="1458000"/>
            <a:ext cx="904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4" name="Rectangle 23">
            <a:extLst>
              <a:ext uri="{FF2B5EF4-FFF2-40B4-BE49-F238E27FC236}">
                <a16:creationId xmlns:a16="http://schemas.microsoft.com/office/drawing/2014/main" id="{1224B8DD-7587-C746-78D5-270BA9FD6542}"/>
              </a:ext>
            </a:extLst>
          </p:cNvPr>
          <p:cNvSpPr/>
          <p:nvPr/>
        </p:nvSpPr>
        <p:spPr>
          <a:xfrm>
            <a:off x="4137120" y="1458000"/>
            <a:ext cx="2486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82909331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A97AD9-B01B-E58D-A5B3-C8E3810A0D3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395DC8C-194F-478B-0662-83FD871715A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1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4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49.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29B48ED-2D07-245A-E4F6-E08498C227C2}"/>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432815C-D77E-6DBD-F7A8-2F8EFA6FAA3D}"/>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2DC8CD4-A6D1-BC21-5B57-C16CD05816F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A2E9ACDE-2487-A735-F34A-EDCBF55D3A8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3 Blade Ingrown Defense Refills 6 Pack (0.0%) | Up &amp; Down Pricing | Walmart | Assumes no other are changing prices</a:t>
            </a:r>
          </a:p>
        </p:txBody>
      </p:sp>
      <p:sp>
        <p:nvSpPr>
          <p:cNvPr id="4" name="Title1">
            <a:extLst>
              <a:ext uri="{FF2B5EF4-FFF2-40B4-BE49-F238E27FC236}">
                <a16:creationId xmlns:a16="http://schemas.microsoft.com/office/drawing/2014/main" id="{59AC995E-73DD-409C-DF55-501EA1011B9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5C1A5E35-D7A7-362B-3678-FB87EAE9EF31}"/>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1E45975-19A5-5DBE-0B1A-E96467B50F58}"/>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A0845574-35EA-9BBD-48B3-1A51553AF81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7122FEC-4F00-7A50-004F-9D12BB974701}"/>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CB8A360C-1E13-522E-D4C6-A9A44A497F7E}"/>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125947324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EDC390-C404-D669-8CE4-9BC35CA3D862}"/>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3DF84FE4-4469-FB9F-837F-91E0C3F399C2}"/>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53A545B-8CDE-5548-E0B1-494B979E30E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E36B2868-8AED-1E84-C2A6-175C7089CF6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Advanced Hydration Refills 6 Pack | Walmart | Assuming no other products are changing prices</a:t>
            </a:r>
          </a:p>
        </p:txBody>
      </p:sp>
      <p:sp>
        <p:nvSpPr>
          <p:cNvPr id="10" name="Title 9">
            <a:extLst>
              <a:ext uri="{FF2B5EF4-FFF2-40B4-BE49-F238E27FC236}">
                <a16:creationId xmlns:a16="http://schemas.microsoft.com/office/drawing/2014/main" id="{4A231F3D-C7FB-D091-F05E-6D3CF20074F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A2CC0EC1-7AAF-9BEC-5A01-530199D22350}"/>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9A2F651A-876B-60E7-628B-28B6D53C61F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F8F0EA9-EE65-5BFF-1435-2885A4865CC6}"/>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23B311C-8AB6-D232-F5E4-154425010C72}"/>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115F605-BD0E-03C0-C4C5-2A5D1182E18F}"/>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B6AA6219-02AD-1A7D-3233-CA78B6A41F2B}"/>
              </a:ext>
            </a:extLst>
          </p:cNvPr>
          <p:cNvSpPr>
            <a:spLocks noGrp="1"/>
          </p:cNvSpPr>
          <p:nvPr>
            <p:ph type="sldNum" sz="quarter" idx="16"/>
          </p:nvPr>
        </p:nvSpPr>
        <p:spPr/>
        <p:txBody>
          <a:bodyPr/>
          <a:lstStyle/>
          <a:p>
            <a:fld id="{7B1F438D-4EAF-094E-9162-80CF3EF77236}" type="slidenum">
              <a:rPr lang="en-US" smtClean="0"/>
              <a:pPr/>
              <a:t>116</a:t>
            </a:fld>
            <a:endParaRPr lang="en-US"/>
          </a:p>
        </p:txBody>
      </p:sp>
      <p:sp>
        <p:nvSpPr>
          <p:cNvPr id="22" name="Rectangle 21">
            <a:extLst>
              <a:ext uri="{FF2B5EF4-FFF2-40B4-BE49-F238E27FC236}">
                <a16:creationId xmlns:a16="http://schemas.microsoft.com/office/drawing/2014/main" id="{21567CDA-89E0-1DD3-D620-3F81BDF22587}"/>
              </a:ext>
            </a:extLst>
          </p:cNvPr>
          <p:cNvSpPr/>
          <p:nvPr/>
        </p:nvSpPr>
        <p:spPr>
          <a:xfrm>
            <a:off x="972000" y="1458000"/>
            <a:ext cx="2260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700948F6-CC60-ADE8-6FB8-B9FD55965008}"/>
              </a:ext>
            </a:extLst>
          </p:cNvPr>
          <p:cNvSpPr/>
          <p:nvPr/>
        </p:nvSpPr>
        <p:spPr>
          <a:xfrm>
            <a:off x="323280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943341E3-F4D4-7271-FDA1-F20AB014AE56}"/>
              </a:ext>
            </a:extLst>
          </p:cNvPr>
          <p:cNvSpPr/>
          <p:nvPr/>
        </p:nvSpPr>
        <p:spPr>
          <a:xfrm>
            <a:off x="4137120" y="1458000"/>
            <a:ext cx="2486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72821541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DEC95F-B5F2-BE3A-88A2-3BB0031FC847}"/>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62FC1DF9-7D85-2325-C3E5-4FD5D594F1B4}"/>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6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8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2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79222A7-00CC-6A6D-59AF-2B32C8177C88}"/>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7DD867D-FB77-8D93-97A6-829BA1C7322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F07242E-2F39-62AF-7E50-F984B172500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546484AC-9BBE-3920-00C1-3C945966579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Advanced Hydration Refills 6 Pack (0.0%) | Up &amp; Down Pricing | Walmart | Assumes no other are changing prices</a:t>
            </a:r>
          </a:p>
        </p:txBody>
      </p:sp>
      <p:sp>
        <p:nvSpPr>
          <p:cNvPr id="4" name="Title1">
            <a:extLst>
              <a:ext uri="{FF2B5EF4-FFF2-40B4-BE49-F238E27FC236}">
                <a16:creationId xmlns:a16="http://schemas.microsoft.com/office/drawing/2014/main" id="{D67173DD-7A8A-9A1B-5FF1-C9F5A6A2240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46BD6EAB-9128-AC77-704D-B267462CB1C1}"/>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966D395D-5DF0-68C1-1B5B-7A91CE72B792}"/>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E9E05976-0469-6027-6A0C-CCBBEAD403DE}"/>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82821E6-0DE4-3A43-5E5E-19D330D985CB}"/>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769A7C5E-11CF-D6AE-AFBF-38FE15B61E75}"/>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352207473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C545FB-CF52-E7AF-834E-596295CFE39B}"/>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E5A965E-1D39-E7F5-90C6-D797DD323F9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BD138331-3515-96A4-C8F0-D9E8A8D1483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584B93EC-6734-5392-F0E0-88CB903D01D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Chrome Refills 6 Pack | Walmart | Assuming no other products are changing prices</a:t>
            </a:r>
          </a:p>
        </p:txBody>
      </p:sp>
      <p:sp>
        <p:nvSpPr>
          <p:cNvPr id="10" name="Title 9">
            <a:extLst>
              <a:ext uri="{FF2B5EF4-FFF2-40B4-BE49-F238E27FC236}">
                <a16:creationId xmlns:a16="http://schemas.microsoft.com/office/drawing/2014/main" id="{B2E45882-5A5E-3C1E-AD56-BD9BDD50247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B85CF9BD-FDEA-4CFD-AF00-8BEA2F68DC2A}"/>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A34677E0-1402-0EF2-93F7-BDFB35B1FB78}"/>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80010E3-623B-0AB3-3544-2B42377831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CF5CA7CE-C1B9-32DE-F6DB-DF1607C46572}"/>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3576861-B5AF-3E67-A54E-D5A56001215F}"/>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D06A8FDE-0BDD-0718-B703-0D15EA003ECB}"/>
              </a:ext>
            </a:extLst>
          </p:cNvPr>
          <p:cNvSpPr>
            <a:spLocks noGrp="1"/>
          </p:cNvSpPr>
          <p:nvPr>
            <p:ph type="sldNum" sz="quarter" idx="16"/>
          </p:nvPr>
        </p:nvSpPr>
        <p:spPr/>
        <p:txBody>
          <a:bodyPr/>
          <a:lstStyle/>
          <a:p>
            <a:fld id="{7B1F438D-4EAF-094E-9162-80CF3EF77236}" type="slidenum">
              <a:rPr lang="en-US" smtClean="0"/>
              <a:pPr/>
              <a:t>118</a:t>
            </a:fld>
            <a:endParaRPr lang="en-US"/>
          </a:p>
        </p:txBody>
      </p:sp>
      <p:sp>
        <p:nvSpPr>
          <p:cNvPr id="22" name="Rectangle 21">
            <a:extLst>
              <a:ext uri="{FF2B5EF4-FFF2-40B4-BE49-F238E27FC236}">
                <a16:creationId xmlns:a16="http://schemas.microsoft.com/office/drawing/2014/main" id="{E4888D14-A70F-B813-F65A-E52D7E283A58}"/>
              </a:ext>
            </a:extLst>
          </p:cNvPr>
          <p:cNvSpPr/>
          <p:nvPr/>
        </p:nvSpPr>
        <p:spPr>
          <a:xfrm>
            <a:off x="972000" y="1458000"/>
            <a:ext cx="2260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196B514D-33F4-F6E1-1BFE-F00C18E6CE82}"/>
              </a:ext>
            </a:extLst>
          </p:cNvPr>
          <p:cNvSpPr/>
          <p:nvPr/>
        </p:nvSpPr>
        <p:spPr>
          <a:xfrm>
            <a:off x="3232800" y="1458000"/>
            <a:ext cx="3391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58909464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8FA9DF-3683-B0CA-AAD8-F73E5B052B1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62FB055-2E22-1ADA-20A3-74D4626A8290}"/>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1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7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8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BB4CE1D-7816-4B0E-F8D8-B4FCFE9D54F2}"/>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6D604AE-6D46-5E5E-6892-61E5E18C162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C8A8EEF-FD0B-AAA9-CBE9-0E7C5252BB3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7A0067BF-4619-3A3C-47B0-EDDB97C4B64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Chrome Refills 6 Pack (0.0%) | Up &amp; Down Pricing | Walmart | Assumes no other are changing prices</a:t>
            </a:r>
          </a:p>
        </p:txBody>
      </p:sp>
      <p:sp>
        <p:nvSpPr>
          <p:cNvPr id="4" name="Title1">
            <a:extLst>
              <a:ext uri="{FF2B5EF4-FFF2-40B4-BE49-F238E27FC236}">
                <a16:creationId xmlns:a16="http://schemas.microsoft.com/office/drawing/2014/main" id="{5B0D85C3-AEC3-835E-299F-CDF655C3728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58F8E7B7-7891-93BB-009D-2824E61BFA0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E7B9F770-0C52-961C-A056-BB7AD524D5CA}"/>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B007E0ED-1412-E460-2A4F-62552DA04A11}"/>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E29A5B4-B347-4D21-3646-429DF0E56A4D}"/>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6E465276-B737-776B-794A-8F5B8DFCC40D}"/>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3171473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6D5C6-645A-29F9-C40E-DAAFAEFE4079}"/>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D6259AC-C57D-C666-3BCD-F593229717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7A5AF6B7-8055-51F7-BA18-8EFF88C1ED54}"/>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A6C98955-EC3A-5C34-2FA6-9F2BD065F0B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9E87E4B7-9A73-385B-9CB4-861F6F66473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2D266041-BE51-AF6B-D15C-12C59517E02C}"/>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9C355C72-76FB-B649-3922-4E92D2CB263C}"/>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Schick Xtreme 2 Sensitive Disposable Razor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8.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Schick Xtreme 2 Sensitive Disposable Razor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1.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Schick Xtreme 2 Sensitive Disposable Razors 2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2.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Schick Xtreme 2 Sensitive Disposable Razors 2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2.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Schick Xtreme 5 Sensitive Disposable Razors 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4.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Schick Xtreme 5 Sensitive Disposable Razor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0.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Schick Xtreme 5 Sensitive Disposable Razor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Schick Xtreme 5 Sensitive Disposable Razor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Schick Xtreme 5 Sensitive Disposable Razor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2.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Schick Xtreme 3 Sensitive Disposable Razor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3.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2.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Schick Xtreme 3 Sensitive Disposable Razor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9.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Schick Xtreme 3 Sensitive Disposable Razor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8.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Schick Xtreme 3 Sensitive Disposable Razor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8.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Schick Xtreme 3 Body &amp; Groin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3.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Schick Xtreme 3 Body &amp; Groin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6.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Schick Hydro 5 Ultimate Comfort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2.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Schick Hydro 5 Ultimate Comfort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6.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Schick First 4 Blade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3.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Schick First 4 Blade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7.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Schick Hydro 3 Blade Ultra Sensitive 1 Handle + 4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7.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36E5C87B-A04B-F374-B97D-A000D9C2E98E}"/>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FD0D3FF6-374D-2817-C2C0-A51E238B274D}"/>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BF0F79B7-E12F-9FFA-F7DB-1F3ABC02407D}"/>
              </a:ext>
            </a:extLst>
          </p:cNvPr>
          <p:cNvSpPr>
            <a:spLocks noGrp="1"/>
          </p:cNvSpPr>
          <p:nvPr>
            <p:ph type="dt" sz="half" idx="14"/>
          </p:nvPr>
        </p:nvSpPr>
        <p:spPr/>
        <p:txBody>
          <a:bodyPr/>
          <a:lstStyle/>
          <a:p>
            <a:fld id="{BB002644-2D98-4E85-9606-3F7EA2621739}" type="datetime1">
              <a:rPr lang="en-US" smtClean="0"/>
              <a:t>8/15/2025</a:t>
            </a:fld>
            <a:endParaRPr lang="en-US"/>
          </a:p>
        </p:txBody>
      </p:sp>
      <p:sp>
        <p:nvSpPr>
          <p:cNvPr id="4" name="Slide Number Placeholder 3">
            <a:extLst>
              <a:ext uri="{FF2B5EF4-FFF2-40B4-BE49-F238E27FC236}">
                <a16:creationId xmlns:a16="http://schemas.microsoft.com/office/drawing/2014/main" id="{1FB2F120-3BA5-2263-E4C7-356B6D8C1D3C}"/>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334146568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D0A044-3226-28B7-0DFC-AABEF32ADE6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6396C96-9C06-52D9-DBBB-0F9F3ABFD515}"/>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601A74C3-7E9F-93C6-DC78-E7BE379952FD}"/>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59525694-7577-A82C-376D-F4FDC9346A23}"/>
              </a:ext>
            </a:extLst>
          </p:cNvPr>
          <p:cNvSpPr>
            <a:spLocks noGrp="1"/>
          </p:cNvSpPr>
          <p:nvPr>
            <p:ph type="body" sz="quarter" idx="18"/>
          </p:nvPr>
        </p:nvSpPr>
        <p:spPr>
          <a:xfrm>
            <a:off x="503238" y="774000"/>
            <a:ext cx="8136762" cy="360000"/>
          </a:xfrm>
        </p:spPr>
        <p:txBody>
          <a:bodyPr/>
          <a:lstStyle/>
          <a:p>
            <a:pPr>
              <a:defRPr sz="1200">
                <a:latin typeface="Nexa Bold (Headings)"/>
              </a:defRPr>
            </a:pPr>
            <a:r>
              <a:t>Equate Blades Inno | Price Elasticity | Walmart | Assumes no other products are changing prices</a:t>
            </a:r>
          </a:p>
        </p:txBody>
      </p:sp>
      <p:sp>
        <p:nvSpPr>
          <p:cNvPr id="18" name="Title 17">
            <a:extLst>
              <a:ext uri="{FF2B5EF4-FFF2-40B4-BE49-F238E27FC236}">
                <a16:creationId xmlns:a16="http://schemas.microsoft.com/office/drawing/2014/main" id="{7FB2A8F1-2C1A-39A9-A9B5-E38EC591753E}"/>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9BA51799-2CA7-1888-5395-8662DDA66EA7}"/>
              </a:ext>
            </a:extLst>
          </p:cNvPr>
          <p:cNvGraphicFramePr>
            <a:graphicFrameLocks/>
          </p:cNvGraphicFramePr>
          <p:nvPr/>
        </p:nvGraphicFramePr>
        <p:xfrm>
          <a:off x="4579258" y="1141495"/>
          <a:ext cx="4057904" cy="639379"/>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5 Blades Blade Refills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005DEEBF-5A3B-D82A-5918-807A88065CD1}"/>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596717BB-AAFE-225C-3888-7682BA09F064}"/>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C0285117-2581-6065-D2FE-4CEB69A7D715}"/>
              </a:ext>
            </a:extLst>
          </p:cNvPr>
          <p:cNvSpPr>
            <a:spLocks noGrp="1"/>
          </p:cNvSpPr>
          <p:nvPr>
            <p:ph type="sldNum" sz="quarter" idx="16"/>
          </p:nvPr>
        </p:nvSpPr>
        <p:spPr/>
        <p:txBody>
          <a:bodyPr/>
          <a:lstStyle/>
          <a:p>
            <a:fld id="{7B1F438D-4EAF-094E-9162-80CF3EF77236}" type="slidenum">
              <a:rPr lang="en-US" smtClean="0"/>
              <a:pPr/>
              <a:t>120</a:t>
            </a:fld>
            <a:endParaRPr lang="en-US"/>
          </a:p>
        </p:txBody>
      </p:sp>
      <p:sp>
        <p:nvSpPr>
          <p:cNvPr id="3" name="TextBox Y">
            <a:extLst>
              <a:ext uri="{FF2B5EF4-FFF2-40B4-BE49-F238E27FC236}">
                <a16:creationId xmlns:a16="http://schemas.microsoft.com/office/drawing/2014/main" id="{67398EC2-C033-CF04-B967-0B00D8D35034}"/>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62275148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178CCF-2525-E0A6-DECE-E3B244F0953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3961662E-8548-CD8C-B2FC-D0D9348BEBAD}"/>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DD65D393-5897-A3EA-F455-A953B789A6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74C56CC6-A323-BDFA-4E68-E14E461B88A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5 Blades Blade Refills 4 Pack | Walmart | Assuming no other products are changing prices</a:t>
            </a:r>
          </a:p>
        </p:txBody>
      </p:sp>
      <p:sp>
        <p:nvSpPr>
          <p:cNvPr id="10" name="Title 9">
            <a:extLst>
              <a:ext uri="{FF2B5EF4-FFF2-40B4-BE49-F238E27FC236}">
                <a16:creationId xmlns:a16="http://schemas.microsoft.com/office/drawing/2014/main" id="{75AF6420-0F5A-8A64-C11F-C4BE09624FE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0F5C1AE2-8B3E-4A2D-0EC6-A3384605EB57}"/>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B0C3B952-2760-6E27-8AF9-2A8AE01CAD3E}"/>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113F147-A387-C83F-4DB3-227CFA5B4CB0}"/>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781EB8D7-F733-3C5A-2E72-12BC4CE7D2DC}"/>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51ABD37-934B-5538-41E4-CE0F51F44315}"/>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7758B540-B192-CA3A-D0D0-11108043881C}"/>
              </a:ext>
            </a:extLst>
          </p:cNvPr>
          <p:cNvSpPr>
            <a:spLocks noGrp="1"/>
          </p:cNvSpPr>
          <p:nvPr>
            <p:ph type="sldNum" sz="quarter" idx="16"/>
          </p:nvPr>
        </p:nvSpPr>
        <p:spPr/>
        <p:txBody>
          <a:bodyPr/>
          <a:lstStyle/>
          <a:p>
            <a:fld id="{7B1F438D-4EAF-094E-9162-80CF3EF77236}" type="slidenum">
              <a:rPr lang="en-US" smtClean="0"/>
              <a:pPr/>
              <a:t>121</a:t>
            </a:fld>
            <a:endParaRPr lang="en-US"/>
          </a:p>
        </p:txBody>
      </p:sp>
      <p:sp>
        <p:nvSpPr>
          <p:cNvPr id="22" name="Rectangle 21">
            <a:extLst>
              <a:ext uri="{FF2B5EF4-FFF2-40B4-BE49-F238E27FC236}">
                <a16:creationId xmlns:a16="http://schemas.microsoft.com/office/drawing/2014/main" id="{3995CCEA-46C5-7B64-2633-D4CFCD282655}"/>
              </a:ext>
            </a:extLst>
          </p:cNvPr>
          <p:cNvSpPr/>
          <p:nvPr/>
        </p:nvSpPr>
        <p:spPr>
          <a:xfrm>
            <a:off x="972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2D36497F-92FF-3C5A-DEAF-EE0AFB2F797B}"/>
              </a:ext>
            </a:extLst>
          </p:cNvPr>
          <p:cNvSpPr/>
          <p:nvPr/>
        </p:nvSpPr>
        <p:spPr>
          <a:xfrm>
            <a:off x="16502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148FA6AD-6B37-A90D-F25E-517ADC04093D}"/>
              </a:ext>
            </a:extLst>
          </p:cNvPr>
          <p:cNvSpPr/>
          <p:nvPr/>
        </p:nvSpPr>
        <p:spPr>
          <a:xfrm>
            <a:off x="238500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493C59BC-43A5-AE6B-4686-ACA61172C701}"/>
              </a:ext>
            </a:extLst>
          </p:cNvPr>
          <p:cNvSpPr/>
          <p:nvPr/>
        </p:nvSpPr>
        <p:spPr>
          <a:xfrm>
            <a:off x="3119760" y="1458000"/>
            <a:ext cx="3504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51122367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32E43F-D8D5-B6EA-BF81-79489AD883A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445E847-6759-8F44-F952-00A08FFCD1AF}"/>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59.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Men Five Blade Refills 8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7.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Men Five Blade Refills 4 Pack (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9.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Men Five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Blades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an Der Hagen Men Double Edge Blade 1 Handle + 5 Cartridges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D2B66F6-A5D4-56E9-A829-7B437A82A674}"/>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rry's Men Five Blade Refills 8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rry's Men Five Blade Refills 4 Pack (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rry's Men Five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Dollar Shave Club 6 Blades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Van Der Hagen Men Double Edge Blade 1 Handle + 5 Cartridges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2E734D26-20A3-6B56-D09F-7486D2BAADF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38DB107-3F81-7F5F-8367-F8D5F5896871}"/>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7C1D8884-C661-DA3B-7535-4E4301C7F5A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5 Blades Blade Refills 4 Pack (0.0%) | Up &amp; Down Pricing | Walmart | Assumes no other are changing prices</a:t>
            </a:r>
          </a:p>
        </p:txBody>
      </p:sp>
      <p:sp>
        <p:nvSpPr>
          <p:cNvPr id="4" name="Title1">
            <a:extLst>
              <a:ext uri="{FF2B5EF4-FFF2-40B4-BE49-F238E27FC236}">
                <a16:creationId xmlns:a16="http://schemas.microsoft.com/office/drawing/2014/main" id="{4EA115E9-554F-5FC0-8291-D5735F92886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57342B9-C7A7-15ED-227A-02C8531837DA}"/>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C7DF92D-1788-D522-E34C-25E773E86742}"/>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C4BCAAE6-0479-367A-3154-40FC376D7751}"/>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5D16E4C-D048-36A6-F132-54AE67E0AE8E}"/>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F4ABB91D-A5ED-6032-70A7-2D62BBC29173}"/>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182069921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CFC073-42FE-76CA-E61D-79AE7A5F42E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2087AC9-B9AF-B73B-AAC4-0BBB910BCD99}"/>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E228A2AF-88AF-1E17-A46D-ED0A5E2B3723}"/>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F2E7E212-E5B1-08CD-ED90-E7773715C55A}"/>
              </a:ext>
            </a:extLst>
          </p:cNvPr>
          <p:cNvSpPr>
            <a:spLocks noGrp="1"/>
          </p:cNvSpPr>
          <p:nvPr>
            <p:ph type="body" sz="quarter" idx="18"/>
          </p:nvPr>
        </p:nvSpPr>
        <p:spPr>
          <a:xfrm>
            <a:off x="503238" y="774000"/>
            <a:ext cx="8136762" cy="360000"/>
          </a:xfrm>
        </p:spPr>
        <p:txBody>
          <a:bodyPr/>
          <a:lstStyle/>
          <a:p>
            <a:pPr>
              <a:defRPr sz="1200">
                <a:latin typeface="Nexa Bold (Headings)"/>
              </a:defRPr>
            </a:pPr>
            <a:r>
              <a:t>Easy Fit Blades | Price Elasticity | Walmart | Assumes no other products are changing prices</a:t>
            </a:r>
          </a:p>
        </p:txBody>
      </p:sp>
      <p:sp>
        <p:nvSpPr>
          <p:cNvPr id="18" name="Title 17">
            <a:extLst>
              <a:ext uri="{FF2B5EF4-FFF2-40B4-BE49-F238E27FC236}">
                <a16:creationId xmlns:a16="http://schemas.microsoft.com/office/drawing/2014/main" id="{0CCD2512-29E0-11E8-A051-15E5A27DA9F5}"/>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BCB9856E-1E6C-CFBF-15B8-CE1CE56C0436}"/>
              </a:ext>
            </a:extLst>
          </p:cNvPr>
          <p:cNvGraphicFramePr>
            <a:graphicFrameLocks/>
          </p:cNvGraphicFramePr>
          <p:nvPr/>
        </p:nvGraphicFramePr>
        <p:xfrm>
          <a:off x="4579258" y="1141495"/>
          <a:ext cx="4057904" cy="927537"/>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Easy Fit 5 Blade Refills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6.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Equate Easy Fit 5 Blade Refills 8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9%</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Equate Easy Fit 5 Blade Refills 12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F086A21F-8830-F398-6D27-9DCC98A6CAAD}"/>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EABA7876-A4F6-B9F6-85E6-6394A5B7A4F5}"/>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AC45FC09-A003-C7CA-4D0E-28A4497103B4}"/>
              </a:ext>
            </a:extLst>
          </p:cNvPr>
          <p:cNvSpPr>
            <a:spLocks noGrp="1"/>
          </p:cNvSpPr>
          <p:nvPr>
            <p:ph type="sldNum" sz="quarter" idx="16"/>
          </p:nvPr>
        </p:nvSpPr>
        <p:spPr/>
        <p:txBody>
          <a:bodyPr/>
          <a:lstStyle/>
          <a:p>
            <a:fld id="{7B1F438D-4EAF-094E-9162-80CF3EF77236}" type="slidenum">
              <a:rPr lang="en-US" smtClean="0"/>
              <a:pPr/>
              <a:t>123</a:t>
            </a:fld>
            <a:endParaRPr lang="en-US"/>
          </a:p>
        </p:txBody>
      </p:sp>
      <p:sp>
        <p:nvSpPr>
          <p:cNvPr id="3" name="TextBox Y">
            <a:extLst>
              <a:ext uri="{FF2B5EF4-FFF2-40B4-BE49-F238E27FC236}">
                <a16:creationId xmlns:a16="http://schemas.microsoft.com/office/drawing/2014/main" id="{CEA704B1-58DE-6BEB-00AA-DE8C61E4C84C}"/>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58479696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47A412-9426-86FA-62C1-52482E075F2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52C5B198-B3EB-6E20-631C-8B3251E11C49}"/>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01DE2CF-287B-3CE8-4058-3A6A383D653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C627E38C-1ACE-8884-73D1-E7C6E5C60ED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Easy Fit 5 Blade Refills 4 Pack | Walmart | Assuming no other products are changing prices</a:t>
            </a:r>
          </a:p>
        </p:txBody>
      </p:sp>
      <p:sp>
        <p:nvSpPr>
          <p:cNvPr id="10" name="Title 9">
            <a:extLst>
              <a:ext uri="{FF2B5EF4-FFF2-40B4-BE49-F238E27FC236}">
                <a16:creationId xmlns:a16="http://schemas.microsoft.com/office/drawing/2014/main" id="{D854090C-D0A0-7B64-EF4E-B7CB7B3CA42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B794D223-14BA-57B3-FA6F-12311AAC212F}"/>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DDE4CBAE-E0FC-3D3C-13F0-490F207366F5}"/>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EF39301-4576-EAA3-99FE-A5E0935C6A4A}"/>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F0EBFD0-D180-4B0B-D99F-E31DA61D42AF}"/>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F9EE136-2984-A88A-2175-21097224B034}"/>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9C0FA14A-F42B-845F-5030-FCD7FF8AFE8D}"/>
              </a:ext>
            </a:extLst>
          </p:cNvPr>
          <p:cNvSpPr>
            <a:spLocks noGrp="1"/>
          </p:cNvSpPr>
          <p:nvPr>
            <p:ph type="sldNum" sz="quarter" idx="16"/>
          </p:nvPr>
        </p:nvSpPr>
        <p:spPr/>
        <p:txBody>
          <a:bodyPr/>
          <a:lstStyle/>
          <a:p>
            <a:fld id="{7B1F438D-4EAF-094E-9162-80CF3EF77236}" type="slidenum">
              <a:rPr lang="en-US" smtClean="0"/>
              <a:pPr/>
              <a:t>124</a:t>
            </a:fld>
            <a:endParaRPr lang="en-US"/>
          </a:p>
        </p:txBody>
      </p:sp>
      <p:sp>
        <p:nvSpPr>
          <p:cNvPr id="22" name="Rectangle 21">
            <a:extLst>
              <a:ext uri="{FF2B5EF4-FFF2-40B4-BE49-F238E27FC236}">
                <a16:creationId xmlns:a16="http://schemas.microsoft.com/office/drawing/2014/main" id="{268D4926-7A26-A27A-639D-A9242378CB5A}"/>
              </a:ext>
            </a:extLst>
          </p:cNvPr>
          <p:cNvSpPr/>
          <p:nvPr/>
        </p:nvSpPr>
        <p:spPr>
          <a:xfrm>
            <a:off x="972000" y="1458000"/>
            <a:ext cx="23173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4F93B0E8-46E9-503B-F36D-050510719B3E}"/>
              </a:ext>
            </a:extLst>
          </p:cNvPr>
          <p:cNvSpPr/>
          <p:nvPr/>
        </p:nvSpPr>
        <p:spPr>
          <a:xfrm>
            <a:off x="3289320" y="1458000"/>
            <a:ext cx="3334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94473194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E3264-F7DB-70C2-F78A-17B7C91A10EB}"/>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2C1E8DF-0446-2C97-E8CF-E0B709AB63BF}"/>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Blade Refills 4 Pac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 Refills 8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4 Pack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8 Pack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12 Pack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10FCB08-5619-B117-D059-7C1BCECBCC16}"/>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Gillette Fusion 5 Blade Refills 4 Pac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Easy Fit 5 Blade Refills 8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8.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Easy Fit 5 Blad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Fusion 5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Fusion 5 Proglide Blade Refills 4 Pack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Fusion 5 Proglide Blade Refills 8 Pack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Gillette Fusion 5 Proglide Blade Refills 12 Pack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ADA92C5-4E63-94E2-1BDC-F42F9F31D14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239565F-97F7-0790-0680-983343369F83}"/>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4C1B79F3-138E-1316-88DB-D08A2E781B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Easy Fit 5 Blade Refills 4 Pack (0.6%) | Up &amp; Down Pricing | Walmart | Assumes no other are changing prices</a:t>
            </a:r>
          </a:p>
        </p:txBody>
      </p:sp>
      <p:sp>
        <p:nvSpPr>
          <p:cNvPr id="4" name="Title1">
            <a:extLst>
              <a:ext uri="{FF2B5EF4-FFF2-40B4-BE49-F238E27FC236}">
                <a16:creationId xmlns:a16="http://schemas.microsoft.com/office/drawing/2014/main" id="{6BD52566-751A-2455-F524-7A206A7C321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7453D87-756E-102E-5E76-F167617EACFD}"/>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CEE7BD0-A31A-C85A-1312-A580346E3D4F}"/>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25E47B8-43C2-5610-AF81-AFD7031ADFA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FAF89E9-5AD8-3958-7B91-F7E66CF193C0}"/>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D6565276-9EC4-212A-234D-82CA20420A55}"/>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289225178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99FB7A-5073-30D1-5CEB-330DA7F1734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511C9EF-E585-C57D-5CB0-3A5D8C705245}"/>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7AE23DC8-4E48-3C65-8CEA-4EBC4E1A6E5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CEF742D5-689A-8A53-6DF6-8EC35517AC2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Easy Fit 5 Blade Refills 8 Pack | Walmart | Assuming no other products are changing prices</a:t>
            </a:r>
          </a:p>
        </p:txBody>
      </p:sp>
      <p:sp>
        <p:nvSpPr>
          <p:cNvPr id="10" name="Title 9">
            <a:extLst>
              <a:ext uri="{FF2B5EF4-FFF2-40B4-BE49-F238E27FC236}">
                <a16:creationId xmlns:a16="http://schemas.microsoft.com/office/drawing/2014/main" id="{BBB77D9A-82CC-29C9-AC87-144BE12A13E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21DC7AA8-6F9E-B22F-61C2-89DECB7BF333}"/>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9F99D0B-2BD9-9322-45CF-D774C708507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3C0DEDB2-B034-D472-8BC4-0B5EABD54670}"/>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0D348037-708B-E56D-A080-DD0D60753BA0}"/>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7324199-37C3-6C28-BFA3-2C8167EFE98E}"/>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59913D6C-F5D7-ED90-0762-0A5F2B8DAA17}"/>
              </a:ext>
            </a:extLst>
          </p:cNvPr>
          <p:cNvSpPr>
            <a:spLocks noGrp="1"/>
          </p:cNvSpPr>
          <p:nvPr>
            <p:ph type="sldNum" sz="quarter" idx="16"/>
          </p:nvPr>
        </p:nvSpPr>
        <p:spPr/>
        <p:txBody>
          <a:bodyPr/>
          <a:lstStyle/>
          <a:p>
            <a:fld id="{7B1F438D-4EAF-094E-9162-80CF3EF77236}" type="slidenum">
              <a:rPr lang="en-US" smtClean="0"/>
              <a:pPr/>
              <a:t>126</a:t>
            </a:fld>
            <a:endParaRPr lang="en-US"/>
          </a:p>
        </p:txBody>
      </p:sp>
      <p:sp>
        <p:nvSpPr>
          <p:cNvPr id="22" name="Rectangle 21">
            <a:extLst>
              <a:ext uri="{FF2B5EF4-FFF2-40B4-BE49-F238E27FC236}">
                <a16:creationId xmlns:a16="http://schemas.microsoft.com/office/drawing/2014/main" id="{E9E5B582-663B-48A9-FC11-716F96961C33}"/>
              </a:ext>
            </a:extLst>
          </p:cNvPr>
          <p:cNvSpPr/>
          <p:nvPr/>
        </p:nvSpPr>
        <p:spPr>
          <a:xfrm>
            <a:off x="972000" y="1458000"/>
            <a:ext cx="2147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C7BE3473-8A31-B4CC-DE99-F554D7AE87CB}"/>
              </a:ext>
            </a:extLst>
          </p:cNvPr>
          <p:cNvSpPr/>
          <p:nvPr/>
        </p:nvSpPr>
        <p:spPr>
          <a:xfrm>
            <a:off x="3119760" y="1458000"/>
            <a:ext cx="3504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54560867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310765-64B7-8888-359F-BB87A9FEED35}"/>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9352A36-F632-2257-A6CE-7B644E217A5A}"/>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87.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Blade Refills 4 Pac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9.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8.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4 Pack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8 Pack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12 Pack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CEB55F8-B99F-F82F-E9DF-F6AD4D571D15}"/>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Easy Fit 5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Fusion 5 Blade Refills 4 Pac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Easy Fit 5 Blad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9.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Fusion 5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Fusion 5 Proglide Blade Refills 4 Pack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Fusion 5 Proglide Blade Refills 8 Pack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Gillette Fusion 5 Proglide Blade Refills 12 Pack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60172BA0-C77A-263C-B7EB-4E112149711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EBBD6CC-871C-F9C6-6C19-D03980CDAC9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50BC418C-1A05-6493-BE23-5BDEA37EA6C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Easy Fit 5 Blade Refills 8 Pack (0.4%) | Up &amp; Down Pricing | Walmart | Assumes no other are changing prices</a:t>
            </a:r>
          </a:p>
        </p:txBody>
      </p:sp>
      <p:sp>
        <p:nvSpPr>
          <p:cNvPr id="4" name="Title1">
            <a:extLst>
              <a:ext uri="{FF2B5EF4-FFF2-40B4-BE49-F238E27FC236}">
                <a16:creationId xmlns:a16="http://schemas.microsoft.com/office/drawing/2014/main" id="{0796DF9F-F6B4-CC24-831E-7172827FE4E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73A43F64-990F-8354-67E6-6EC989A9C897}"/>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6E5A74B7-FC7C-B9EC-1970-2C8438F0A618}"/>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9A1561E2-9B1F-587E-5F1C-F5356A34E846}"/>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2B41132-BA22-5181-9279-B0CEC8CE5790}"/>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F9A2CF9F-78D0-C818-AED6-86665E43FE49}"/>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35308263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9FD17D-A04E-576B-257B-E3A0BF4C96A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113F332-DC79-884C-EE51-E61BA5A6C05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A981B3F-B972-D89B-15A2-BD5269DAD5D2}"/>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83C8869A-DA35-75CC-8F3A-41C567E713F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Easy Fit 5 Blade Refills 12 Pack | Walmart | Assuming no other products are changing prices</a:t>
            </a:r>
          </a:p>
        </p:txBody>
      </p:sp>
      <p:sp>
        <p:nvSpPr>
          <p:cNvPr id="10" name="Title 9">
            <a:extLst>
              <a:ext uri="{FF2B5EF4-FFF2-40B4-BE49-F238E27FC236}">
                <a16:creationId xmlns:a16="http://schemas.microsoft.com/office/drawing/2014/main" id="{F5E64A43-74E0-D9D3-D8AC-AD328B146DE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4DB3B71A-CA0E-BC29-DC86-DCFD893D681E}"/>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E39442AA-0213-CFF5-D13D-38F9D514C7D4}"/>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5D4ECE2-16F4-B34A-AE24-3C6E805B83B6}"/>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7E2B710C-BF88-8412-4532-1072E57CE799}"/>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8FAB8D5-C177-C7D1-D9CB-A129EC89DE32}"/>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B49C6464-62B8-D0BA-349B-040CDCCEEC7E}"/>
              </a:ext>
            </a:extLst>
          </p:cNvPr>
          <p:cNvSpPr>
            <a:spLocks noGrp="1"/>
          </p:cNvSpPr>
          <p:nvPr>
            <p:ph type="sldNum" sz="quarter" idx="16"/>
          </p:nvPr>
        </p:nvSpPr>
        <p:spPr/>
        <p:txBody>
          <a:bodyPr/>
          <a:lstStyle/>
          <a:p>
            <a:fld id="{7B1F438D-4EAF-094E-9162-80CF3EF77236}" type="slidenum">
              <a:rPr lang="en-US" smtClean="0"/>
              <a:pPr/>
              <a:t>128</a:t>
            </a:fld>
            <a:endParaRPr lang="en-US"/>
          </a:p>
        </p:txBody>
      </p:sp>
      <p:sp>
        <p:nvSpPr>
          <p:cNvPr id="22" name="Rectangle 21">
            <a:extLst>
              <a:ext uri="{FF2B5EF4-FFF2-40B4-BE49-F238E27FC236}">
                <a16:creationId xmlns:a16="http://schemas.microsoft.com/office/drawing/2014/main" id="{792423F4-FCFD-1E2F-EBAF-9E16F6A845F8}"/>
              </a:ext>
            </a:extLst>
          </p:cNvPr>
          <p:cNvSpPr/>
          <p:nvPr/>
        </p:nvSpPr>
        <p:spPr>
          <a:xfrm>
            <a:off x="972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3EE743CA-846A-8531-51B1-0F2788F3B229}"/>
              </a:ext>
            </a:extLst>
          </p:cNvPr>
          <p:cNvSpPr/>
          <p:nvPr/>
        </p:nvSpPr>
        <p:spPr>
          <a:xfrm>
            <a:off x="3798000" y="1458000"/>
            <a:ext cx="2826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05187605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C2AC1B-6232-196D-6B8F-A28A2FAF2083}"/>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62B0CB8-80F6-FA34-31EE-C70A67D691E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Blade Refills 4 Pac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69.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 Refills 8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8 Pack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12 Pack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4 Pack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CE034D5-8B94-8151-8630-5E6C93D441B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Easy Fit 5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Fusion 5 Blade Refills 4 Pac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Easy Fit 5 Blade Refills 8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7.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Fusion 5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Fusion 5 Proglide Blade Refills 4 Pack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Fusion 5 Proglide Blade Refills 8 Pack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Gillette Fusion 5 Proglide Blade Refills 12 Pack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85CCDC0-CD97-A355-FE7F-87FDA266431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6B9BEF6-DB55-07AB-301C-4AEE662EB43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1B049E2B-CD39-B8C9-808C-39724E40AB2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Easy Fit 5 Blade Refills 12 Pack (0.4%) | Up &amp; Down Pricing | Walmart | Assumes no other are changing prices</a:t>
            </a:r>
          </a:p>
        </p:txBody>
      </p:sp>
      <p:sp>
        <p:nvSpPr>
          <p:cNvPr id="4" name="Title1">
            <a:extLst>
              <a:ext uri="{FF2B5EF4-FFF2-40B4-BE49-F238E27FC236}">
                <a16:creationId xmlns:a16="http://schemas.microsoft.com/office/drawing/2014/main" id="{68945A74-45B3-215C-D9A2-BE298144058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4B2A5050-DFEC-9BBF-0072-DC9574AD609B}"/>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9FCED21C-6D8B-1739-7824-2ABDB05E9282}"/>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24208B9-AFCD-49A3-440C-5FCFFB1A3913}"/>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59DC6BE-DDAE-2558-5997-97C12E76F322}"/>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A36FB1A2-AE0C-5968-75EB-3B1E83234FA5}"/>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39529699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60AB77-394D-4B6B-F714-47BA5C828C5A}"/>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3DD9BE1-30D4-CA7E-158E-F553C3C8A4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89F5DC55-ADF4-DCCC-E55C-F2D73584F23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D386BEBE-E00C-185E-030B-C073731735D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0EBDB8B0-FD96-BFAC-A888-FCCF6B947AC4}"/>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CE939EC6-E64A-B847-8053-E7414DB9FAF8}"/>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940929BB-44B6-12AA-1A49-34428D7FC7FE}"/>
              </a:ext>
            </a:extLst>
          </p:cNvPr>
          <p:cNvGraphicFramePr>
            <a:graphicFrameLocks noGrp="1"/>
          </p:cNvGraphicFramePr>
          <p:nvPr/>
        </p:nvGraphicFramePr>
        <p:xfrm>
          <a:off x="546970" y="1137285"/>
          <a:ext cx="8093792" cy="3637438"/>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Schick Hydro 3 Blade Ultra Sensitive 1 Handle + 4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37.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Schick Hydro 3 Blade Pro Sensitive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2.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Schick Hydro 3 Blade Pro Sensitive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8.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Schick Hydro 3 Blade Ingrown Defense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2.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Schick Hydro 3 Blade Ingrown Defense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9.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Schick Hydro 5 Blade Advanced Hydration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2.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Schick Hydro 5 Blade Advanced Hydration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9.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Schick Hydro 5 Blade Sensitive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3.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3.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Schick Hydro 5 Blade Sensitive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9.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Schick Hydro 5 Blade Sensitive 1 Handle + 5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Schick Hydro 5 Blade Sensitive 1 Handle + 5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8.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Schick Hydro 5 Blade Sensitive 1 Handle + 8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Schick Hydro 5 Blade Sensitive 1 Handle + 8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Schick Hydro 5 Blade Chrome 1 Handle + 3 Cartridges + Docking Station/Stand + Travel Cover</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3.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5.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Schick Hydro 5 Blade Chrome 1 Handle + 3 Cartridges + Docking Station/Stand + Travel Cover</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Schick Quattro Four Blade 1 Handle + 4 Cartri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1.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Schick Quattro Four Blade 1 Handle + 4 Cartri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5.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Wilkinson Sword Classic Double Edge 1 Handle + 5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Wilkinson Sword Classic Double Edge 1 Handle + 5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6.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Equate 2 Blade Disposable Razors 5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4.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6CD48927-EC47-1DB0-57A6-61E83ED19731}"/>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DFED1931-6AD7-6538-D60E-DFE2B58FA388}"/>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A3ED966A-43E3-8F95-D605-183B95034D42}"/>
              </a:ext>
            </a:extLst>
          </p:cNvPr>
          <p:cNvSpPr>
            <a:spLocks noGrp="1"/>
          </p:cNvSpPr>
          <p:nvPr>
            <p:ph type="dt" sz="half" idx="14"/>
          </p:nvPr>
        </p:nvSpPr>
        <p:spPr/>
        <p:txBody>
          <a:bodyPr/>
          <a:lstStyle/>
          <a:p>
            <a:fld id="{BB002644-2D98-4E85-9606-3F7EA2621739}" type="datetime1">
              <a:rPr lang="en-US" smtClean="0"/>
              <a:t>8/15/2025</a:t>
            </a:fld>
            <a:endParaRPr lang="en-US"/>
          </a:p>
        </p:txBody>
      </p:sp>
      <p:sp>
        <p:nvSpPr>
          <p:cNvPr id="4" name="Slide Number Placeholder 3">
            <a:extLst>
              <a:ext uri="{FF2B5EF4-FFF2-40B4-BE49-F238E27FC236}">
                <a16:creationId xmlns:a16="http://schemas.microsoft.com/office/drawing/2014/main" id="{F6F8EF67-1A63-93E1-66A2-B887ABAD4C26}"/>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243458793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Restage Hydro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nvGraphicFramePr>
        <p:xfrm>
          <a:off x="4579258" y="1141495"/>
          <a:ext cx="4057904" cy="1750220"/>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5 Blade Sensitive 1 Handle + 3 Cartridges Restag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5 Blade Sensitive 1 Handle + 5 Cartridges Restag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Hydro 5 Blade Sensitive 1 Handle + 8 Cartridges Restag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Schick Hydro 5 Blade Sensitive Refills 6 Pack Restag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Schick Hydro 5 Blade Sensitive Refills 12 Pack Restag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3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85656317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Restage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nvGraphicFramePr>
        <p:xfrm>
          <a:off x="4579258" y="1141495"/>
          <a:ext cx="4057904" cy="1499236"/>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Quattro Four Blade 1 Handle + 4 Cartriges Restag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Wilkinson Sword Classic Double Edge 1 Handle + 5 Cartridges Restag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Quattro Four Blade Refills 3 Pack Restag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Schick Quattro Four Blade Refills 6 Pack Restag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3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605424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17F49B-BDFF-6431-EE6B-9FD983CCAB93}"/>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3BC3848-3ACF-0E69-AAD0-71FC845905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9B888EEF-191B-7EB7-63FD-49CD1981DD15}"/>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7D23AA7-3120-B840-B3E4-FF6595C15AB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14D0EFED-DC66-6796-58E3-EE79F1B650FB}"/>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85893243-A079-49C4-7C26-A71FB5586DE6}"/>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CC57B934-68C1-03F8-6702-3D55AAA626BF}"/>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Equate 2 Blade Disposable Razors 5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2.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8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Equate 2 Blade Disposable Razor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2.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9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Equate 2 Blade Disposable Razor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7.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5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Equate 2 Blade Disposable Razors 20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9.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Equate 2 Blade Disposable Razors 20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2.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Equate Caliber 3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3.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Equate Caliber 3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7.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Equate Caliber 3 Disposable Razor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Equate Caliber 3 Disposable Razor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5.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Equate Caliber 5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2.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Equate Caliber 5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7.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Equate Caliber 5 Disposable Razor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9.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Equate Caliber 5 Disposable Razor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Equate Speed 3 Disposable Razor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1.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Equate Speed 3 Disposable Razor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Equate Speed 3 Disposable Razor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2.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Equate Speed 3 Disposable Razor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6.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Equate 5 Blades 1 Handle + 2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6.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Equate 5 Blades 1 Handle + 2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8.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Equate Easy Fit 5 blades 1 Handle + 2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C29D2258-92AD-EB21-F1C6-C2D66870983B}"/>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AFB46F14-1655-1841-E1BA-7123C6E25062}"/>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29826B89-A014-775D-C40F-8E21536BE8A0}"/>
              </a:ext>
            </a:extLst>
          </p:cNvPr>
          <p:cNvSpPr>
            <a:spLocks noGrp="1"/>
          </p:cNvSpPr>
          <p:nvPr>
            <p:ph type="dt" sz="half" idx="14"/>
          </p:nvPr>
        </p:nvSpPr>
        <p:spPr/>
        <p:txBody>
          <a:bodyPr/>
          <a:lstStyle/>
          <a:p>
            <a:fld id="{BB002644-2D98-4E85-9606-3F7EA2621739}" type="datetime1">
              <a:rPr lang="en-US" smtClean="0"/>
              <a:t>8/15/2025</a:t>
            </a:fld>
            <a:endParaRPr lang="en-US"/>
          </a:p>
        </p:txBody>
      </p:sp>
      <p:sp>
        <p:nvSpPr>
          <p:cNvPr id="4" name="Slide Number Placeholder 3">
            <a:extLst>
              <a:ext uri="{FF2B5EF4-FFF2-40B4-BE49-F238E27FC236}">
                <a16:creationId xmlns:a16="http://schemas.microsoft.com/office/drawing/2014/main" id="{B07AAAD3-B0DB-272B-96E2-7CE3D76E2EB2}"/>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8700020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ADC984-DE8B-A856-E92A-19A0E8B81369}"/>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96A0E60-306B-54DC-3E95-60C767674B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09019A23-AC6A-F25D-A31D-CA8C33882B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26100B2C-3BCE-0CCD-9EDF-59B27F341F3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91B58A0-BEA1-A5A7-809C-84230E1080A9}"/>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18080D8F-099D-6352-7301-A986B9CF41E9}"/>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1F22C2D-DEF1-BA43-7BD3-1F47FB65777C}"/>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Equate Easy Fit 5 blades 1 Handle + 2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8.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Equate Easy Fit 5 blades 1 Handle + 5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6.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Equate Easy Fit 5 blades 1 Handle + 5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Schick Hydro 3 Blade Ultra Sensitive Refills 5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1.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Schick Hydro 3 Blade Ultra Sensitive Refills 5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7.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Schick Hydro 3 Blade Pro Sensitiv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Schick Hydro 3 Blade Pro Sensitiv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4.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Schick Hydro 3 Blade Ingrown Defens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Schick Hydro 3 Blade Ingrown Defens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2.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Schick Hydro 5 Blade Sensitive Refill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Schick Hydro 5 Blade Sensitiv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Schick Hydro 5 Blade Sensitive Refill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Schick Hydro 5 Blade Sensitive Refill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Schick Hydro 5 Blade Advanced Hydration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Schick Hydro 5 Blade Advanced Hydration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4.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Schick Hydro 5 Blade Chrom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Schick Hydro 5 Blade Chrom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5.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Schick Quattro Four Blade Refill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Schick Quattro Four Blade Refill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3.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Schick Quattro Four Blad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4.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6.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829A3C99-BD26-961C-8490-1A2081F726A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CF82AECC-1AA0-8E9B-32B0-7C188273BE5D}"/>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44F4C3D1-3D07-5501-6DB0-06B945668EA6}"/>
              </a:ext>
            </a:extLst>
          </p:cNvPr>
          <p:cNvSpPr>
            <a:spLocks noGrp="1"/>
          </p:cNvSpPr>
          <p:nvPr>
            <p:ph type="dt" sz="half" idx="14"/>
          </p:nvPr>
        </p:nvSpPr>
        <p:spPr/>
        <p:txBody>
          <a:bodyPr/>
          <a:lstStyle/>
          <a:p>
            <a:fld id="{BB002644-2D98-4E85-9606-3F7EA2621739}" type="datetime1">
              <a:rPr lang="en-US" smtClean="0"/>
              <a:t>8/15/2025</a:t>
            </a:fld>
            <a:endParaRPr lang="en-US"/>
          </a:p>
        </p:txBody>
      </p:sp>
      <p:sp>
        <p:nvSpPr>
          <p:cNvPr id="4" name="Slide Number Placeholder 3">
            <a:extLst>
              <a:ext uri="{FF2B5EF4-FFF2-40B4-BE49-F238E27FC236}">
                <a16:creationId xmlns:a16="http://schemas.microsoft.com/office/drawing/2014/main" id="{4D7669FB-BE90-407C-E065-ED4AD5D66209}"/>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23332350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B96F52-F854-3D3D-4AED-2EDD26249D16}"/>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2BE702B-3B98-8269-8729-78D586C122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42ECC51C-98F8-5009-A921-134E430162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D9BF6842-D52A-F557-C574-D06EA50A17A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85836DC1-756F-3A60-1C72-60B165E3D6B2}"/>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C883436B-407E-7939-3E04-A9C6997B84B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F6D20035-C2B9-E30D-E2A0-6C1407A8955A}"/>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385020">
                <a:tc>
                  <a:txBody>
                    <a:bodyPr/>
                    <a:lstStyle/>
                    <a:p>
                      <a:pPr algn="l">
                        <a:defRPr sz="600" b="1">
                          <a:latin typeface="Nexa Bold"/>
                        </a:defRPr>
                      </a:pPr>
                      <a:r>
                        <a:rPr sz="600">
                          <a:latin typeface="Nexa Bold"/>
                        </a:rPr>
                        <a:t>Schick Quattro Four Blad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6.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385020">
                <a:tc>
                  <a:txBody>
                    <a:bodyPr/>
                    <a:lstStyle/>
                    <a:p>
                      <a:pPr algn="l">
                        <a:defRPr sz="600" b="1">
                          <a:latin typeface="Nexa Bold"/>
                        </a:defRPr>
                      </a:pPr>
                      <a:r>
                        <a:rPr sz="600">
                          <a:latin typeface="Nexa Bold"/>
                        </a:rPr>
                        <a:t>Equate 5 Blades Blade Refill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5.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385020">
                <a:tc>
                  <a:txBody>
                    <a:bodyPr/>
                    <a:lstStyle/>
                    <a:p>
                      <a:pPr algn="l">
                        <a:defRPr sz="600" b="1">
                          <a:latin typeface="Nexa Bold"/>
                        </a:defRPr>
                      </a:pPr>
                      <a:r>
                        <a:rPr sz="600">
                          <a:latin typeface="Nexa Bold"/>
                        </a:rPr>
                        <a:t>Equate 5 Blades Blade Refill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385020">
                <a:tc>
                  <a:txBody>
                    <a:bodyPr/>
                    <a:lstStyle/>
                    <a:p>
                      <a:pPr algn="l">
                        <a:defRPr sz="600" b="1">
                          <a:latin typeface="Nexa Bold"/>
                        </a:defRPr>
                      </a:pPr>
                      <a:r>
                        <a:rPr sz="600">
                          <a:latin typeface="Nexa Bold"/>
                        </a:rPr>
                        <a:t>Equate Easy Fit 5 Blade Refill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6.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385020">
                <a:tc>
                  <a:txBody>
                    <a:bodyPr/>
                    <a:lstStyle/>
                    <a:p>
                      <a:pPr algn="l">
                        <a:defRPr sz="600" b="1">
                          <a:latin typeface="Nexa Bold"/>
                        </a:defRPr>
                      </a:pPr>
                      <a:r>
                        <a:rPr sz="600">
                          <a:latin typeface="Nexa Bold"/>
                        </a:rPr>
                        <a:t>Equate Easy Fit 5 Blade Refill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385020">
                <a:tc>
                  <a:txBody>
                    <a:bodyPr/>
                    <a:lstStyle/>
                    <a:p>
                      <a:pPr algn="l">
                        <a:defRPr sz="600" b="1">
                          <a:latin typeface="Nexa Bold"/>
                        </a:defRPr>
                      </a:pPr>
                      <a:r>
                        <a:rPr sz="600">
                          <a:latin typeface="Nexa Bold"/>
                        </a:rPr>
                        <a:t>Equate Easy Fit 5 Blade Refill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5.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9.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385020">
                <a:tc>
                  <a:txBody>
                    <a:bodyPr/>
                    <a:lstStyle/>
                    <a:p>
                      <a:pPr algn="l">
                        <a:defRPr sz="600" b="1">
                          <a:latin typeface="Nexa Bold"/>
                        </a:defRPr>
                      </a:pPr>
                      <a:r>
                        <a:rPr sz="600">
                          <a:latin typeface="Nexa Bold"/>
                        </a:rPr>
                        <a:t>Equate Easy Fit 5 Blade Refill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2.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385020">
                <a:tc>
                  <a:txBody>
                    <a:bodyPr/>
                    <a:lstStyle/>
                    <a:p>
                      <a:pPr algn="l">
                        <a:defRPr sz="600" b="1">
                          <a:latin typeface="Nexa Bold"/>
                        </a:defRPr>
                      </a:pPr>
                      <a:r>
                        <a:rPr sz="600">
                          <a:latin typeface="Nexa Bold"/>
                        </a:rPr>
                        <a:t>Equate Easy Fit 5 Blade Refill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7FC7D46F-43CE-BF83-476E-1B55F8293B01}"/>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A3E67DE8-8CAF-71E8-834D-5578683A0A4C}"/>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837602C0-2B26-6A57-00E7-BD961AA8A049}"/>
              </a:ext>
            </a:extLst>
          </p:cNvPr>
          <p:cNvSpPr>
            <a:spLocks noGrp="1"/>
          </p:cNvSpPr>
          <p:nvPr>
            <p:ph type="dt" sz="half" idx="14"/>
          </p:nvPr>
        </p:nvSpPr>
        <p:spPr/>
        <p:txBody>
          <a:bodyPr/>
          <a:lstStyle/>
          <a:p>
            <a:fld id="{BB002644-2D98-4E85-9606-3F7EA2621739}" type="datetime1">
              <a:rPr lang="en-US" smtClean="0"/>
              <a:t>8/15/2025</a:t>
            </a:fld>
            <a:endParaRPr lang="en-US"/>
          </a:p>
        </p:txBody>
      </p:sp>
      <p:sp>
        <p:nvSpPr>
          <p:cNvPr id="4" name="Slide Number Placeholder 3">
            <a:extLst>
              <a:ext uri="{FF2B5EF4-FFF2-40B4-BE49-F238E27FC236}">
                <a16:creationId xmlns:a16="http://schemas.microsoft.com/office/drawing/2014/main" id="{9C4F5EC4-2FAA-6EBD-1F38-1C3612153932}"/>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2549309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C8FDF6-BA38-39ED-9891-BA1B4A50F7D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C469192-E6AA-3628-6B57-F3B434A07AD7}"/>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E41B2EFD-BD16-3B73-95B9-6D0B45CDBF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5856343B-15CF-6942-2EF9-31096B39A761}"/>
              </a:ext>
            </a:extLst>
          </p:cNvPr>
          <p:cNvSpPr>
            <a:spLocks noGrp="1"/>
          </p:cNvSpPr>
          <p:nvPr>
            <p:ph type="body" sz="quarter" idx="18"/>
          </p:nvPr>
        </p:nvSpPr>
        <p:spPr>
          <a:xfrm>
            <a:off x="503238" y="774000"/>
            <a:ext cx="8136762" cy="360000"/>
          </a:xfrm>
        </p:spPr>
        <p:txBody>
          <a:bodyPr/>
          <a:lstStyle/>
          <a:p>
            <a:pPr>
              <a:defRPr sz="1200">
                <a:latin typeface="Nexa Bold (Headings)"/>
              </a:defRPr>
            </a:pPr>
            <a:r>
              <a:t>Disposables (1) | Price Elasticity | Walmart | Assumes no other products are changing prices</a:t>
            </a:r>
          </a:p>
        </p:txBody>
      </p:sp>
      <p:sp>
        <p:nvSpPr>
          <p:cNvPr id="18" name="Title 17">
            <a:extLst>
              <a:ext uri="{FF2B5EF4-FFF2-40B4-BE49-F238E27FC236}">
                <a16:creationId xmlns:a16="http://schemas.microsoft.com/office/drawing/2014/main" id="{B6455018-8E6F-AD1D-94DC-67E7FB8CC9BF}"/>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BF0780F3-40C6-1CD9-1A54-D21E6D7D6CAF}"/>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Xtreme 2 Sensitive Disposable Razors 12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7.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Xtreme 3 Sensitive Disposable Razors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6.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8EB6BEE-5B01-DD81-F85B-737903D929A7}"/>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A8885B84-EF19-1E8D-2914-C955AB19A85A}"/>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8FB5FC51-3B02-8C5A-C7D2-A8F128C86128}"/>
              </a:ext>
            </a:extLst>
          </p:cNvPr>
          <p:cNvSpPr>
            <a:spLocks noGrp="1"/>
          </p:cNvSpPr>
          <p:nvPr>
            <p:ph type="sldNum" sz="quarter" idx="16"/>
          </p:nvPr>
        </p:nvSpPr>
        <p:spPr/>
        <p:txBody>
          <a:bodyPr/>
          <a:lstStyle/>
          <a:p>
            <a:fld id="{7B1F438D-4EAF-094E-9162-80CF3EF77236}" type="slidenum">
              <a:rPr lang="en-US" smtClean="0"/>
              <a:pPr/>
              <a:t>17</a:t>
            </a:fld>
            <a:endParaRPr lang="en-US"/>
          </a:p>
        </p:txBody>
      </p:sp>
      <p:sp>
        <p:nvSpPr>
          <p:cNvPr id="3" name="TextBox Y">
            <a:extLst>
              <a:ext uri="{FF2B5EF4-FFF2-40B4-BE49-F238E27FC236}">
                <a16:creationId xmlns:a16="http://schemas.microsoft.com/office/drawing/2014/main" id="{82C5B77B-F0EA-A563-1F72-767BC3E1C778}"/>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4418709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FE852C-70A3-BC99-FD67-E0259974434B}"/>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599B961-4D0F-9976-EFE6-B4C278C763D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87977E17-C690-13B5-0266-7CCA46EA9AB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A6A995B7-2442-1D6C-F7DE-33540B4134D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2 Sensitive Disposable Razors 12 Pack | Walmart | Assuming no other products are changing prices</a:t>
            </a:r>
          </a:p>
        </p:txBody>
      </p:sp>
      <p:sp>
        <p:nvSpPr>
          <p:cNvPr id="10" name="Title 9">
            <a:extLst>
              <a:ext uri="{FF2B5EF4-FFF2-40B4-BE49-F238E27FC236}">
                <a16:creationId xmlns:a16="http://schemas.microsoft.com/office/drawing/2014/main" id="{9BC70892-F53A-D1A2-8A3C-31F2B321335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9F507734-5B1A-8711-876C-AFDCE560A259}"/>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1741030-C530-1704-AF16-9AEB94584B3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48FEF34-A5EE-8C11-2997-932BB77BB9A1}"/>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0F901F64-BE51-4E7F-B13F-5EA61596FE7A}"/>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09AAE89-4D0D-6793-D9A2-3217601BA2AF}"/>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F9D2BDBB-D13C-A716-33FC-EA1FF4C834BF}"/>
              </a:ext>
            </a:extLst>
          </p:cNvPr>
          <p:cNvSpPr>
            <a:spLocks noGrp="1"/>
          </p:cNvSpPr>
          <p:nvPr>
            <p:ph type="sldNum" sz="quarter" idx="16"/>
          </p:nvPr>
        </p:nvSpPr>
        <p:spPr/>
        <p:txBody>
          <a:bodyPr/>
          <a:lstStyle/>
          <a:p>
            <a:fld id="{7B1F438D-4EAF-094E-9162-80CF3EF77236}" type="slidenum">
              <a:rPr lang="en-US" smtClean="0"/>
              <a:pPr/>
              <a:t>18</a:t>
            </a:fld>
            <a:endParaRPr lang="en-US"/>
          </a:p>
        </p:txBody>
      </p:sp>
      <p:sp>
        <p:nvSpPr>
          <p:cNvPr id="22" name="Rectangle 21">
            <a:extLst>
              <a:ext uri="{FF2B5EF4-FFF2-40B4-BE49-F238E27FC236}">
                <a16:creationId xmlns:a16="http://schemas.microsoft.com/office/drawing/2014/main" id="{0E382051-321E-DE27-8BF6-E421E240AF86}"/>
              </a:ext>
            </a:extLst>
          </p:cNvPr>
          <p:cNvSpPr/>
          <p:nvPr/>
        </p:nvSpPr>
        <p:spPr>
          <a:xfrm>
            <a:off x="97200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70C23197-9C90-1E93-F78A-26872253E3F5}"/>
              </a:ext>
            </a:extLst>
          </p:cNvPr>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136625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7C419F-65C6-F211-0563-C884F8C8E26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574D0CC-4987-9066-6172-0EE8C38D831B}"/>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2 Plus Disposable Razors 10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0822EB9-E5D9-E2E8-3DF3-CA0AE35A7F36}"/>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0FBFC77-6209-BA6D-CAC6-3A47EAFC3AB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32A77379-595F-8DF2-B671-58E76A04951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4A011EFF-B6A8-0864-B64A-4C787B31466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2 Sensitive Disposable Razors 12 Pack (2.7%) | Up &amp; Down Pricing | Walmart | Assumes no other are changing prices</a:t>
            </a:r>
          </a:p>
        </p:txBody>
      </p:sp>
      <p:sp>
        <p:nvSpPr>
          <p:cNvPr id="4" name="Title1">
            <a:extLst>
              <a:ext uri="{FF2B5EF4-FFF2-40B4-BE49-F238E27FC236}">
                <a16:creationId xmlns:a16="http://schemas.microsoft.com/office/drawing/2014/main" id="{DB715318-4128-2C71-311B-478773E11FE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67D184F-12F3-089E-DA72-1F3007ED14FA}"/>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7E83433-CBFA-82DF-9032-45F2239E8F2A}"/>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AB1A339-DA69-8701-6DC6-68D800260263}"/>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07022C1-6F1D-C822-B486-A988C94C5C85}"/>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B450E35C-5771-CB60-74FD-B1846C94CFD4}"/>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26766310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6D25A0-96CC-B59A-100B-FF1A94DE2217}"/>
            </a:ext>
          </a:extLst>
        </p:cNvPr>
        <p:cNvGrpSpPr/>
        <p:nvPr/>
      </p:nvGrpSpPr>
      <p:grpSpPr>
        <a:xfrm>
          <a:off x="0" y="0"/>
          <a:ext cx="0" cy="0"/>
          <a:chOff x="0" y="0"/>
          <a:chExt cx="0" cy="0"/>
        </a:xfrm>
      </p:grpSpPr>
      <p:sp>
        <p:nvSpPr>
          <p:cNvPr id="5" name="Footer Placeholder 4">
            <a:extLst>
              <a:ext uri="{FF2B5EF4-FFF2-40B4-BE49-F238E27FC236}">
                <a16:creationId xmlns:a16="http://schemas.microsoft.com/office/drawing/2014/main" id="{A3EF9B68-DE41-1B53-C851-E8666361DC05}"/>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00CFC11-678F-9DE9-7910-36E4A174A24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12" name="Head">
            <a:extLst>
              <a:ext uri="{FF2B5EF4-FFF2-40B4-BE49-F238E27FC236}">
                <a16:creationId xmlns:a16="http://schemas.microsoft.com/office/drawing/2014/main" id="{0DE9F202-6ED2-6D07-94F5-77725CC3CA12}"/>
              </a:ext>
            </a:extLst>
          </p:cNvPr>
          <p:cNvSpPr>
            <a:spLocks noGrp="1"/>
          </p:cNvSpPr>
          <p:nvPr>
            <p:ph type="body" sz="quarter" idx="18"/>
          </p:nvPr>
        </p:nvSpPr>
        <p:spPr>
          <a:xfrm>
            <a:off x="503238" y="774000"/>
            <a:ext cx="8136762" cy="360000"/>
          </a:xfrm>
        </p:spPr>
        <p:txBody>
          <a:bodyPr/>
          <a:lstStyle/>
          <a:p>
            <a:pPr>
              <a:defRPr sz="1200"/>
            </a:pPr>
            <a:r>
              <a:t>Based on price change | by Brand | Dispo | Walmart</a:t>
            </a:r>
          </a:p>
        </p:txBody>
      </p:sp>
      <p:sp>
        <p:nvSpPr>
          <p:cNvPr id="3" name="Title 2">
            <a:extLst>
              <a:ext uri="{FF2B5EF4-FFF2-40B4-BE49-F238E27FC236}">
                <a16:creationId xmlns:a16="http://schemas.microsoft.com/office/drawing/2014/main" id="{C7378E80-1618-4876-25F0-C4F306CBF84E}"/>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9D17E188-986C-E2BF-0A4C-C5B51442700F}"/>
              </a:ext>
            </a:extLst>
          </p:cNvPr>
          <p:cNvGraphicFramePr>
            <a:graphicFrameLocks/>
          </p:cNvGraphicFramePr>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7076BD6F-E7D9-7643-2DB2-8E6AAA15B3D8}"/>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B4ADA2A6-3B5F-1F93-6E71-8634B22FE671}"/>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5C5CFF85-48A7-DDCA-0E2D-221A6268A1B0}"/>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1D2137B3-C281-B927-3DE8-39F66A779F1D}"/>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E7F17FC9-21BD-E980-1FBC-76AD9A0E92C5}"/>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49C62E05-38CD-BE88-1C1A-5CE449C3D807}"/>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9300D409-64BF-EFE3-6AA2-92F6B064C7C7}"/>
              </a:ext>
            </a:extLst>
          </p:cNvPr>
          <p:cNvSpPr>
            <a:spLocks noGrp="1"/>
          </p:cNvSpPr>
          <p:nvPr>
            <p:ph type="dt" sz="half" idx="14"/>
          </p:nvPr>
        </p:nvSpPr>
        <p:spPr/>
        <p:txBody>
          <a:bodyPr/>
          <a:lstStyle/>
          <a:p>
            <a:fld id="{AD583B17-CA9E-4798-A693-AB6BF9A9B56D}" type="datetime1">
              <a:rPr lang="en-US" smtClean="0"/>
              <a:t>8/15/2025</a:t>
            </a:fld>
            <a:endParaRPr lang="en-US"/>
          </a:p>
        </p:txBody>
      </p:sp>
      <p:sp>
        <p:nvSpPr>
          <p:cNvPr id="9" name="Slide Number Placeholder 8">
            <a:extLst>
              <a:ext uri="{FF2B5EF4-FFF2-40B4-BE49-F238E27FC236}">
                <a16:creationId xmlns:a16="http://schemas.microsoft.com/office/drawing/2014/main" id="{6652BFF3-A4D2-5776-7030-F35E543EFF46}"/>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23945101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58221C-5D28-F2DF-CBC3-17B699603132}"/>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D35BBCC-E4C3-2B34-3219-13F82ED9BD43}"/>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CD2947F-AFAD-A302-3FA0-FD5E2298AFD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495A9183-D477-5D83-1975-3B0A3CCE76F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3 Sensitive Disposable Razors 4 Pack | Walmart | Assuming no other products are changing prices</a:t>
            </a:r>
          </a:p>
        </p:txBody>
      </p:sp>
      <p:sp>
        <p:nvSpPr>
          <p:cNvPr id="10" name="Title 9">
            <a:extLst>
              <a:ext uri="{FF2B5EF4-FFF2-40B4-BE49-F238E27FC236}">
                <a16:creationId xmlns:a16="http://schemas.microsoft.com/office/drawing/2014/main" id="{12457F71-5487-E5CE-E8B2-EFA0B18412C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EC13D044-31D2-0C36-E728-DBD46753CC6A}"/>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D647DEB9-140C-05A6-AE90-20C239A932B4}"/>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0E6B6BEA-7AFC-9B96-F4BF-D3AF06A729AA}"/>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DCF89A20-C4CD-EED2-5230-7F21EE44016A}"/>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4570277-C0C3-0197-B97D-1A13F476F0C2}"/>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7F89DD95-727C-0BED-4C84-5B9AB6814491}"/>
              </a:ext>
            </a:extLst>
          </p:cNvPr>
          <p:cNvSpPr>
            <a:spLocks noGrp="1"/>
          </p:cNvSpPr>
          <p:nvPr>
            <p:ph type="sldNum" sz="quarter" idx="16"/>
          </p:nvPr>
        </p:nvSpPr>
        <p:spPr/>
        <p:txBody>
          <a:bodyPr/>
          <a:lstStyle/>
          <a:p>
            <a:fld id="{7B1F438D-4EAF-094E-9162-80CF3EF77236}" type="slidenum">
              <a:rPr lang="en-US" smtClean="0"/>
              <a:pPr/>
              <a:t>20</a:t>
            </a:fld>
            <a:endParaRPr lang="en-US"/>
          </a:p>
        </p:txBody>
      </p:sp>
      <p:sp>
        <p:nvSpPr>
          <p:cNvPr id="22" name="Rectangle 21">
            <a:extLst>
              <a:ext uri="{FF2B5EF4-FFF2-40B4-BE49-F238E27FC236}">
                <a16:creationId xmlns:a16="http://schemas.microsoft.com/office/drawing/2014/main" id="{43B2B06D-C90F-2DFF-EC5A-96BC8EB466E5}"/>
              </a:ext>
            </a:extLst>
          </p:cNvPr>
          <p:cNvSpPr/>
          <p:nvPr/>
        </p:nvSpPr>
        <p:spPr>
          <a:xfrm>
            <a:off x="972000" y="1458000"/>
            <a:ext cx="5652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7488951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D2150A-E350-8177-68DD-A6B538B11A2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91B7C29-A100-2CDE-50D2-8E94CA4AFE88}"/>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7.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43EF159-7C5E-41D4-3A9E-81FF020EB30A}"/>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B0F0171-69D3-3388-E17D-126066C7A15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3F9F612C-4AC2-1E4F-4163-DD46EF4F9C1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642D7130-F5FE-17C8-F491-512516575D8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3 Sensitive Disposable Razors 4 Pack (2.8%) | Up &amp; Down Pricing | Walmart | Assumes no other are changing prices</a:t>
            </a:r>
          </a:p>
        </p:txBody>
      </p:sp>
      <p:sp>
        <p:nvSpPr>
          <p:cNvPr id="4" name="Title1">
            <a:extLst>
              <a:ext uri="{FF2B5EF4-FFF2-40B4-BE49-F238E27FC236}">
                <a16:creationId xmlns:a16="http://schemas.microsoft.com/office/drawing/2014/main" id="{C8070BA6-4C0C-FD9F-98BE-8AF67316FAD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25763120-BDC9-3574-9E4C-FEE700C57FBD}"/>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5698494-661A-358D-6E3D-97FB1571726A}"/>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14BCB58-5BAD-6EAC-E575-EF2F397E0D61}"/>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1A9538B-83B7-D623-FBC8-28B8D31373CD}"/>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0557107A-150A-9F1F-671D-329EB640DAB9}"/>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25392766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0DAFDC-0B90-75F4-67FA-D63CC0A1A95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FD3BA61-DDA0-3E01-4326-18C1D36D329C}"/>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029013AA-7762-C2A5-67E6-75B960D65CC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CE254D3B-8E5D-94AE-E615-5D5A4BCF6B6B}"/>
              </a:ext>
            </a:extLst>
          </p:cNvPr>
          <p:cNvSpPr>
            <a:spLocks noGrp="1"/>
          </p:cNvSpPr>
          <p:nvPr>
            <p:ph type="body" sz="quarter" idx="18"/>
          </p:nvPr>
        </p:nvSpPr>
        <p:spPr>
          <a:xfrm>
            <a:off x="503238" y="774000"/>
            <a:ext cx="8136762" cy="360000"/>
          </a:xfrm>
        </p:spPr>
        <p:txBody>
          <a:bodyPr/>
          <a:lstStyle/>
          <a:p>
            <a:pPr>
              <a:defRPr sz="1200">
                <a:latin typeface="Nexa Bold (Headings)"/>
              </a:defRPr>
            </a:pPr>
            <a:r>
              <a:t>Disposables Inno | Price Elasticity | Walmart | Assumes no other products are changing prices</a:t>
            </a:r>
          </a:p>
        </p:txBody>
      </p:sp>
      <p:sp>
        <p:nvSpPr>
          <p:cNvPr id="18" name="Title 17">
            <a:extLst>
              <a:ext uri="{FF2B5EF4-FFF2-40B4-BE49-F238E27FC236}">
                <a16:creationId xmlns:a16="http://schemas.microsoft.com/office/drawing/2014/main" id="{7270B5B5-EF1E-3FCF-9B8E-046B75C7A9C8}"/>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806E986C-6C0C-9404-8378-BFCBF54AB8D6}"/>
              </a:ext>
            </a:extLst>
          </p:cNvPr>
          <p:cNvGraphicFramePr>
            <a:graphicFrameLocks/>
          </p:cNvGraphicFramePr>
          <p:nvPr/>
        </p:nvGraphicFramePr>
        <p:xfrm>
          <a:off x="4579258" y="1141495"/>
          <a:ext cx="4057904" cy="225218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defRPr sz="800">
                          <a:latin typeface="Nexa Book"/>
                        </a:defRPr>
                      </a:pPr>
                      <a:r>
                        <a:rPr sz="800">
                          <a:latin typeface="Nexa Book"/>
                        </a:rPr>
                        <a:t>Schick Xtreme 2 Sensitive Disposable Razors 2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Xtreme 5 Sensitive Disposable Razors 2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Xtreme 5 Sensitive Disposable Razors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Schick Xtreme 5 Sensitive Disposable Razors 8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Schick Xtreme 3 Body &amp; Groin Disposable Razor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B8B60D"/>
                    </a:solidFill>
                  </a:tcPr>
                </a:tc>
                <a:tc>
                  <a:txBody>
                    <a:bodyPr/>
                    <a:lstStyle/>
                    <a:p>
                      <a:pPr algn="l">
                        <a:defRPr sz="800">
                          <a:latin typeface="Nexa Book"/>
                        </a:defRPr>
                      </a:pPr>
                      <a:r>
                        <a:rPr sz="800">
                          <a:latin typeface="Nexa Book"/>
                        </a:rPr>
                        <a:t>Schick Hydro 5 Ultimate Comfort Disposable Razor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8E87"/>
                    </a:solidFill>
                  </a:tcPr>
                </a:tc>
                <a:tc>
                  <a:txBody>
                    <a:bodyPr/>
                    <a:lstStyle/>
                    <a:p>
                      <a:pPr algn="l">
                        <a:defRPr sz="800">
                          <a:latin typeface="Nexa Book"/>
                        </a:defRPr>
                      </a:pPr>
                      <a:r>
                        <a:rPr sz="800">
                          <a:latin typeface="Nexa Book"/>
                        </a:rPr>
                        <a:t>Schick First 4 Blade Disposable Razor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CC618B37-75F7-163C-F4E3-FB344F5DA9DE}"/>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F139FC9E-B110-AFBF-387D-3977684D3147}"/>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F6740320-7966-AC4B-B60F-FC3D83C9B2E4}"/>
              </a:ext>
            </a:extLst>
          </p:cNvPr>
          <p:cNvSpPr>
            <a:spLocks noGrp="1"/>
          </p:cNvSpPr>
          <p:nvPr>
            <p:ph type="sldNum" sz="quarter" idx="16"/>
          </p:nvPr>
        </p:nvSpPr>
        <p:spPr/>
        <p:txBody>
          <a:bodyPr/>
          <a:lstStyle/>
          <a:p>
            <a:fld id="{7B1F438D-4EAF-094E-9162-80CF3EF77236}" type="slidenum">
              <a:rPr lang="en-US" smtClean="0"/>
              <a:pPr/>
              <a:t>22</a:t>
            </a:fld>
            <a:endParaRPr lang="en-US"/>
          </a:p>
        </p:txBody>
      </p:sp>
      <p:sp>
        <p:nvSpPr>
          <p:cNvPr id="3" name="TextBox Y">
            <a:extLst>
              <a:ext uri="{FF2B5EF4-FFF2-40B4-BE49-F238E27FC236}">
                <a16:creationId xmlns:a16="http://schemas.microsoft.com/office/drawing/2014/main" id="{BF7AD06F-B614-8CDD-99C4-6F82FBEA0E4B}"/>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5548243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218D97-56BD-EBE8-6392-C5F088088D6D}"/>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813470A-95E6-5FA0-0673-3B96BF493A8F}"/>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737FD354-120F-E2DB-0E63-6475446F1CA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1730B006-541D-DA0B-74C3-37247EB18FD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2 Sensitive Disposable Razors 24 Pack | Walmart | Assuming no other products are changing prices</a:t>
            </a:r>
          </a:p>
        </p:txBody>
      </p:sp>
      <p:sp>
        <p:nvSpPr>
          <p:cNvPr id="10" name="Title 9">
            <a:extLst>
              <a:ext uri="{FF2B5EF4-FFF2-40B4-BE49-F238E27FC236}">
                <a16:creationId xmlns:a16="http://schemas.microsoft.com/office/drawing/2014/main" id="{2DB8E5D8-2BAC-5112-F9C9-AB6AB889991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EAE311D7-82F3-FCE9-E83B-64ED5CB87582}"/>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EDBB604-761D-67A3-B5F3-96E7038ED886}"/>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6DBC8D5-6A57-176C-1F77-266A32283AE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1BAAA74F-4240-D95B-F959-1DBA2EE781D1}"/>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E34DB8B-1A4F-939A-5622-8E4359B16D91}"/>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518C05FF-9C11-02FA-4C44-28DE1B8D2BA8}"/>
              </a:ext>
            </a:extLst>
          </p:cNvPr>
          <p:cNvSpPr>
            <a:spLocks noGrp="1"/>
          </p:cNvSpPr>
          <p:nvPr>
            <p:ph type="sldNum" sz="quarter" idx="16"/>
          </p:nvPr>
        </p:nvSpPr>
        <p:spPr/>
        <p:txBody>
          <a:bodyPr/>
          <a:lstStyle/>
          <a:p>
            <a:fld id="{7B1F438D-4EAF-094E-9162-80CF3EF77236}" type="slidenum">
              <a:rPr lang="en-US" smtClean="0"/>
              <a:pPr/>
              <a:t>23</a:t>
            </a:fld>
            <a:endParaRPr lang="en-US"/>
          </a:p>
        </p:txBody>
      </p:sp>
      <p:sp>
        <p:nvSpPr>
          <p:cNvPr id="22" name="Rectangle 21">
            <a:extLst>
              <a:ext uri="{FF2B5EF4-FFF2-40B4-BE49-F238E27FC236}">
                <a16:creationId xmlns:a16="http://schemas.microsoft.com/office/drawing/2014/main" id="{8A883E05-EFC1-0940-6356-36B809AEF9AA}"/>
              </a:ext>
            </a:extLst>
          </p:cNvPr>
          <p:cNvSpPr/>
          <p:nvPr/>
        </p:nvSpPr>
        <p:spPr>
          <a:xfrm>
            <a:off x="972000" y="1458000"/>
            <a:ext cx="960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41CA14FC-8B10-5803-6D7B-EE7BECA1FEF6}"/>
              </a:ext>
            </a:extLst>
          </p:cNvPr>
          <p:cNvSpPr/>
          <p:nvPr/>
        </p:nvSpPr>
        <p:spPr>
          <a:xfrm>
            <a:off x="193284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02B91AC2-8C2F-713A-84AE-71D1670A4E91}"/>
              </a:ext>
            </a:extLst>
          </p:cNvPr>
          <p:cNvSpPr/>
          <p:nvPr/>
        </p:nvSpPr>
        <p:spPr>
          <a:xfrm>
            <a:off x="311976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B97A7C20-23F7-CE66-A7DA-FCF93B15BDEF}"/>
              </a:ext>
            </a:extLst>
          </p:cNvPr>
          <p:cNvSpPr/>
          <p:nvPr/>
        </p:nvSpPr>
        <p:spPr>
          <a:xfrm>
            <a:off x="3798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8890806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50A23-97CC-C448-E1DE-7146D9166908}"/>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CF2AF78-32D9-C1E5-77A4-316A7E93918E}"/>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2 Pivot Head Disposable Razors 12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2 Plus Disposable Razors 10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356C350-3B42-837D-51A6-96A45B0DE0B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Gillette Sensor 2 Pivot Head Disposable Razors 12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Sensor 2 Plus Disposable Razors 10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Sensitive Disposable Razor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Men Sensitive Twin Blade Disposable Razors 10 Pack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D2ABC0E-4BD0-BD9C-845D-E13C27FE410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FAAC1B2-FD93-9A0E-A3E8-2C8303925FA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4F3DB08C-B72B-2B31-3E86-8C554640CFE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2 Sensitive Disposable Razors 24 Pack (0.0%) | Up &amp; Down Pricing | Walmart | Assumes no other are changing prices</a:t>
            </a:r>
          </a:p>
        </p:txBody>
      </p:sp>
      <p:sp>
        <p:nvSpPr>
          <p:cNvPr id="4" name="Title1">
            <a:extLst>
              <a:ext uri="{FF2B5EF4-FFF2-40B4-BE49-F238E27FC236}">
                <a16:creationId xmlns:a16="http://schemas.microsoft.com/office/drawing/2014/main" id="{9A5F601D-9763-EFCC-62DE-EE9822A5110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B3F93E5-79D2-6053-A9EA-2D52C45851B9}"/>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8A8D13AB-C5F4-919E-EE80-CEC689D91654}"/>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4152F53A-B7A9-C64B-4977-451D95EEA769}"/>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D8F8189-1FA6-4408-40FA-56D3967A670B}"/>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8B49B880-2503-4691-7200-35E893D9DEC2}"/>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35014966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E05A96-AF44-F817-168E-D039D59C6B5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B051354-EF41-877F-E476-EEFFEAF9AC1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EA610A3B-47BC-ADB7-D113-7CEB749E49C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6E69B8A5-18E0-03E5-BE8F-A011925CA37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5 Sensitive Disposable Razors 2 Pack | Walmart | Assuming no other products are changing prices</a:t>
            </a:r>
          </a:p>
        </p:txBody>
      </p:sp>
      <p:sp>
        <p:nvSpPr>
          <p:cNvPr id="10" name="Title 9">
            <a:extLst>
              <a:ext uri="{FF2B5EF4-FFF2-40B4-BE49-F238E27FC236}">
                <a16:creationId xmlns:a16="http://schemas.microsoft.com/office/drawing/2014/main" id="{DA58173B-5EB7-B38D-4125-EBB37D8456C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C0AF1FBA-B42B-B456-DD66-C7DCD76D7D6A}"/>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47F88FA2-B913-BFFE-5C84-42B4A3764A06}"/>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C22F5841-57F5-E1DA-D62E-46106A482609}"/>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416C862B-550B-BCFC-4C58-861A36FCD753}"/>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E73E6F2-9F76-EEEE-C80B-A638ADD73913}"/>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5123B7F1-4214-44D7-D80C-F92EC22D789B}"/>
              </a:ext>
            </a:extLst>
          </p:cNvPr>
          <p:cNvSpPr>
            <a:spLocks noGrp="1"/>
          </p:cNvSpPr>
          <p:nvPr>
            <p:ph type="sldNum" sz="quarter" idx="16"/>
          </p:nvPr>
        </p:nvSpPr>
        <p:spPr/>
        <p:txBody>
          <a:bodyPr/>
          <a:lstStyle/>
          <a:p>
            <a:fld id="{7B1F438D-4EAF-094E-9162-80CF3EF77236}" type="slidenum">
              <a:rPr lang="en-US" smtClean="0"/>
              <a:pPr/>
              <a:t>25</a:t>
            </a:fld>
            <a:endParaRPr lang="en-US"/>
          </a:p>
        </p:txBody>
      </p:sp>
      <p:sp>
        <p:nvSpPr>
          <p:cNvPr id="22" name="Rectangle 21">
            <a:extLst>
              <a:ext uri="{FF2B5EF4-FFF2-40B4-BE49-F238E27FC236}">
                <a16:creationId xmlns:a16="http://schemas.microsoft.com/office/drawing/2014/main" id="{C89ABC07-4AA8-0751-B9D2-FA964FD28A5B}"/>
              </a:ext>
            </a:extLst>
          </p:cNvPr>
          <p:cNvSpPr/>
          <p:nvPr/>
        </p:nvSpPr>
        <p:spPr>
          <a:xfrm>
            <a:off x="972000" y="1458000"/>
            <a:ext cx="5652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0397389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B75B92-1E7A-1A0D-2AB9-5BD6A87570A7}"/>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BF2B394-2988-358A-CCC2-B328178712D9}"/>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F87E7FB-2DAB-D697-96C7-05EA56C8C236}"/>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B23E676-38E1-C7EA-55AB-45FECE3E3EF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7EABFC0-0FEA-6E14-338F-96089A5C6482}"/>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31E10696-FB85-4708-EE37-1B7EF94AFE3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5 Sensitive Disposable Razors 2 Pack (0.0%) | Up &amp; Down Pricing | Walmart | Assumes no other are changing prices</a:t>
            </a:r>
          </a:p>
        </p:txBody>
      </p:sp>
      <p:sp>
        <p:nvSpPr>
          <p:cNvPr id="4" name="Title1">
            <a:extLst>
              <a:ext uri="{FF2B5EF4-FFF2-40B4-BE49-F238E27FC236}">
                <a16:creationId xmlns:a16="http://schemas.microsoft.com/office/drawing/2014/main" id="{D012F77D-695A-7894-D94B-6E274F48D1B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1C613E02-530D-F00B-5FCB-F1021D385A04}"/>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327280C-F3CF-7C0A-8FC5-61A03636A274}"/>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D8ADDE78-C263-9C98-5C95-5686AF85BA3E}"/>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C268BD0-55BA-360C-DB76-861C12583331}"/>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55D61ADD-2099-E911-EAE2-39F320C6CD36}"/>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8500690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266DF4-C8B3-B97A-E84D-46F038F3583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1041CB9C-E89A-B662-B850-C9A28918C7DF}"/>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B3951552-F914-5005-A840-4EE7A88C610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5BB68487-3930-9C90-5017-E1619A6A512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5 Sensitive Disposable Razors 4 Pack | Walmart | Assuming no other products are changing prices</a:t>
            </a:r>
          </a:p>
        </p:txBody>
      </p:sp>
      <p:sp>
        <p:nvSpPr>
          <p:cNvPr id="10" name="Title 9">
            <a:extLst>
              <a:ext uri="{FF2B5EF4-FFF2-40B4-BE49-F238E27FC236}">
                <a16:creationId xmlns:a16="http://schemas.microsoft.com/office/drawing/2014/main" id="{BD742C27-D604-1164-F485-F1F8F31D043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143F166B-38BE-4057-CBAB-1696ECDAFAE8}"/>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5137372-7376-E9D5-1474-4A1411E8761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09FDD036-F5E5-2736-CDD2-58B6E52AEA9A}"/>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55C8ECC-736E-0784-42AF-978CBC4DAAD2}"/>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C06B054-8440-EAB5-3720-2FAB15D7EC31}"/>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A7B47F09-83BF-6B18-7013-FC7248690E25}"/>
              </a:ext>
            </a:extLst>
          </p:cNvPr>
          <p:cNvSpPr>
            <a:spLocks noGrp="1"/>
          </p:cNvSpPr>
          <p:nvPr>
            <p:ph type="sldNum" sz="quarter" idx="16"/>
          </p:nvPr>
        </p:nvSpPr>
        <p:spPr/>
        <p:txBody>
          <a:bodyPr/>
          <a:lstStyle/>
          <a:p>
            <a:fld id="{7B1F438D-4EAF-094E-9162-80CF3EF77236}" type="slidenum">
              <a:rPr lang="en-US" smtClean="0"/>
              <a:pPr/>
              <a:t>27</a:t>
            </a:fld>
            <a:endParaRPr lang="en-US"/>
          </a:p>
        </p:txBody>
      </p:sp>
      <p:sp>
        <p:nvSpPr>
          <p:cNvPr id="22" name="Rectangle 21">
            <a:extLst>
              <a:ext uri="{FF2B5EF4-FFF2-40B4-BE49-F238E27FC236}">
                <a16:creationId xmlns:a16="http://schemas.microsoft.com/office/drawing/2014/main" id="{05F98AD5-9FAD-37A6-59BB-17FB0438C73C}"/>
              </a:ext>
            </a:extLst>
          </p:cNvPr>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0D94F675-9544-5967-72AB-9FC1C7E56CE4}"/>
              </a:ext>
            </a:extLst>
          </p:cNvPr>
          <p:cNvSpPr/>
          <p:nvPr/>
        </p:nvSpPr>
        <p:spPr>
          <a:xfrm>
            <a:off x="142416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EDE51342-F010-700E-6539-E9E85523C372}"/>
              </a:ext>
            </a:extLst>
          </p:cNvPr>
          <p:cNvSpPr/>
          <p:nvPr/>
        </p:nvSpPr>
        <p:spPr>
          <a:xfrm>
            <a:off x="193284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D1E24DB3-F824-DA9F-9589-F9D8C86BBDA8}"/>
              </a:ext>
            </a:extLst>
          </p:cNvPr>
          <p:cNvSpPr/>
          <p:nvPr/>
        </p:nvSpPr>
        <p:spPr>
          <a:xfrm>
            <a:off x="311976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a:extLst>
              <a:ext uri="{FF2B5EF4-FFF2-40B4-BE49-F238E27FC236}">
                <a16:creationId xmlns:a16="http://schemas.microsoft.com/office/drawing/2014/main" id="{E974C4A7-9643-BB70-E3E3-6534834E6AA3}"/>
              </a:ext>
            </a:extLst>
          </p:cNvPr>
          <p:cNvSpPr/>
          <p:nvPr/>
        </p:nvSpPr>
        <p:spPr>
          <a:xfrm>
            <a:off x="379800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F737E682-4866-B854-0B90-B48498AA98A4}"/>
              </a:ext>
            </a:extLst>
          </p:cNvPr>
          <p:cNvSpPr/>
          <p:nvPr/>
        </p:nvSpPr>
        <p:spPr>
          <a:xfrm>
            <a:off x="4758840" y="1458000"/>
            <a:ext cx="1865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8086260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BC7799-7AC7-B088-17A5-5B7FF10F61E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FCD069A4-D247-F1BF-8E2D-7C6A03ECA4A4}"/>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9.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9948222-2F9A-AB93-2CC3-32CEFFF33012}"/>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EAAE7968-57B1-4B25-1194-9D924383B2F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4233A17-4494-BD98-D367-58A226BB0BC3}"/>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493AB6B-2391-A02C-3146-079FE68F59B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5 Sensitive Disposable Razors 4 Pack (0.0%) | Up &amp; Down Pricing | Walmart | Assumes no other are changing prices</a:t>
            </a:r>
          </a:p>
        </p:txBody>
      </p:sp>
      <p:sp>
        <p:nvSpPr>
          <p:cNvPr id="4" name="Title1">
            <a:extLst>
              <a:ext uri="{FF2B5EF4-FFF2-40B4-BE49-F238E27FC236}">
                <a16:creationId xmlns:a16="http://schemas.microsoft.com/office/drawing/2014/main" id="{85C0A6DC-66D8-4304-6BA5-E8224A52DE9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18903CD-E46D-5F02-EA3F-59A6D240F26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FB5F697-C412-FC16-3B7D-BB6D274FC043}"/>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937A510A-76B3-40CA-DE59-2F5D70EB9782}"/>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45F9A67-E493-BC03-3476-7F3F96D14C21}"/>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AE863361-99DD-B2FC-69A6-BF75D36AA4F4}"/>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5405003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9ABB0D-5C7C-5B74-25B5-6B884C101A83}"/>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8778270-723C-5814-3609-52B03CE8EF1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D70F5D40-FC48-CD4A-021F-B6748BFF0D5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CA39760F-F027-7578-8E51-FAAFFFC5382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5 Sensitive Disposable Razors 8 Pack | Walmart | Assuming no other products are changing prices</a:t>
            </a:r>
          </a:p>
        </p:txBody>
      </p:sp>
      <p:sp>
        <p:nvSpPr>
          <p:cNvPr id="10" name="Title 9">
            <a:extLst>
              <a:ext uri="{FF2B5EF4-FFF2-40B4-BE49-F238E27FC236}">
                <a16:creationId xmlns:a16="http://schemas.microsoft.com/office/drawing/2014/main" id="{2FE203F8-3976-FD50-8CC8-23401485AE4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2B4D6B04-CF21-E185-033F-A709C650F36C}"/>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1105CB98-DADC-417E-83A8-98790776DE25}"/>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BFCA865-2F5D-14F2-97DF-12D387CA41D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C0BEE9C2-F426-31D4-D127-8EB38C627A40}"/>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4CD95AB-C540-D653-1829-884A53E14675}"/>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7DA91A30-63D9-AF62-5BFE-9B5DA00C5828}"/>
              </a:ext>
            </a:extLst>
          </p:cNvPr>
          <p:cNvSpPr>
            <a:spLocks noGrp="1"/>
          </p:cNvSpPr>
          <p:nvPr>
            <p:ph type="sldNum" sz="quarter" idx="16"/>
          </p:nvPr>
        </p:nvSpPr>
        <p:spPr/>
        <p:txBody>
          <a:bodyPr/>
          <a:lstStyle/>
          <a:p>
            <a:fld id="{7B1F438D-4EAF-094E-9162-80CF3EF77236}" type="slidenum">
              <a:rPr lang="en-US" smtClean="0"/>
              <a:pPr/>
              <a:t>29</a:t>
            </a:fld>
            <a:endParaRPr lang="en-US"/>
          </a:p>
        </p:txBody>
      </p:sp>
      <p:sp>
        <p:nvSpPr>
          <p:cNvPr id="22" name="Rectangle 21">
            <a:extLst>
              <a:ext uri="{FF2B5EF4-FFF2-40B4-BE49-F238E27FC236}">
                <a16:creationId xmlns:a16="http://schemas.microsoft.com/office/drawing/2014/main" id="{FAEA5FAD-20CB-A55E-B436-4209DAC32E7C}"/>
              </a:ext>
            </a:extLst>
          </p:cNvPr>
          <p:cNvSpPr/>
          <p:nvPr/>
        </p:nvSpPr>
        <p:spPr>
          <a:xfrm>
            <a:off x="972000" y="1458000"/>
            <a:ext cx="395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309400CD-5632-A1C1-6501-B64552B5389C}"/>
              </a:ext>
            </a:extLst>
          </p:cNvPr>
          <p:cNvSpPr/>
          <p:nvPr/>
        </p:nvSpPr>
        <p:spPr>
          <a:xfrm>
            <a:off x="13676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ABA984A0-2A93-C8B4-B9AF-5709CAC78DE6}"/>
              </a:ext>
            </a:extLst>
          </p:cNvPr>
          <p:cNvSpPr/>
          <p:nvPr/>
        </p:nvSpPr>
        <p:spPr>
          <a:xfrm>
            <a:off x="21024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8AAC0227-8FF5-F011-CED6-E30B95D3BE98}"/>
              </a:ext>
            </a:extLst>
          </p:cNvPr>
          <p:cNvSpPr/>
          <p:nvPr/>
        </p:nvSpPr>
        <p:spPr>
          <a:xfrm>
            <a:off x="3119760" y="1458000"/>
            <a:ext cx="3504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0799546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5AE3A2-D750-5714-A2A2-835519FA8564}"/>
            </a:ext>
          </a:extLst>
        </p:cNvPr>
        <p:cNvGrpSpPr/>
        <p:nvPr/>
      </p:nvGrpSpPr>
      <p:grpSpPr>
        <a:xfrm>
          <a:off x="0" y="0"/>
          <a:ext cx="0" cy="0"/>
          <a:chOff x="0" y="0"/>
          <a:chExt cx="0" cy="0"/>
        </a:xfrm>
      </p:grpSpPr>
      <p:sp>
        <p:nvSpPr>
          <p:cNvPr id="5" name="Footer Placeholder 4">
            <a:extLst>
              <a:ext uri="{FF2B5EF4-FFF2-40B4-BE49-F238E27FC236}">
                <a16:creationId xmlns:a16="http://schemas.microsoft.com/office/drawing/2014/main" id="{8DFBDE08-FE87-E74A-8EF0-B25D4BD4EF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E6516DDC-ECDC-2793-E015-95793AC20E4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12" name="Head">
            <a:extLst>
              <a:ext uri="{FF2B5EF4-FFF2-40B4-BE49-F238E27FC236}">
                <a16:creationId xmlns:a16="http://schemas.microsoft.com/office/drawing/2014/main" id="{0EEDE74B-07FF-FAFD-E061-0A6BC6CCE320}"/>
              </a:ext>
            </a:extLst>
          </p:cNvPr>
          <p:cNvSpPr>
            <a:spLocks noGrp="1"/>
          </p:cNvSpPr>
          <p:nvPr>
            <p:ph type="body" sz="quarter" idx="18"/>
          </p:nvPr>
        </p:nvSpPr>
        <p:spPr>
          <a:xfrm>
            <a:off x="503238" y="774000"/>
            <a:ext cx="8136762" cy="360000"/>
          </a:xfrm>
        </p:spPr>
        <p:txBody>
          <a:bodyPr/>
          <a:lstStyle/>
          <a:p>
            <a:pPr>
              <a:defRPr sz="1200"/>
            </a:pPr>
            <a:r>
              <a:t>Based on price change | by Brand | Razor | Walmart</a:t>
            </a:r>
          </a:p>
        </p:txBody>
      </p:sp>
      <p:sp>
        <p:nvSpPr>
          <p:cNvPr id="3" name="Title 2">
            <a:extLst>
              <a:ext uri="{FF2B5EF4-FFF2-40B4-BE49-F238E27FC236}">
                <a16:creationId xmlns:a16="http://schemas.microsoft.com/office/drawing/2014/main" id="{CC78B50C-0EB3-31FD-6CD0-8FF15F0847D9}"/>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382EC57E-FA13-8BE8-7DC3-25D1DDE7F830}"/>
              </a:ext>
            </a:extLst>
          </p:cNvPr>
          <p:cNvGraphicFramePr>
            <a:graphicFrameLocks/>
          </p:cNvGraphicFramePr>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837C8E36-85EE-D488-7477-F15AC876975D}"/>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2552A7C4-D743-E6E6-F00A-8ECB7C98A512}"/>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9AABB7A9-F6FF-8D3B-1193-B6D84FEBFB4E}"/>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99FB5F20-8CF1-D67C-1FD7-E712993247FD}"/>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038DF7B7-2F68-999A-21A6-16825351553D}"/>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7EAAAAE1-D84D-A0F0-0926-70401F20963A}"/>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33815ACE-E06A-B8BB-52C7-99ACFF67F1B6}"/>
              </a:ext>
            </a:extLst>
          </p:cNvPr>
          <p:cNvSpPr>
            <a:spLocks noGrp="1"/>
          </p:cNvSpPr>
          <p:nvPr>
            <p:ph type="dt" sz="half" idx="14"/>
          </p:nvPr>
        </p:nvSpPr>
        <p:spPr/>
        <p:txBody>
          <a:bodyPr/>
          <a:lstStyle/>
          <a:p>
            <a:fld id="{AD583B17-CA9E-4798-A693-AB6BF9A9B56D}" type="datetime1">
              <a:rPr lang="en-US" smtClean="0"/>
              <a:t>8/15/2025</a:t>
            </a:fld>
            <a:endParaRPr lang="en-US"/>
          </a:p>
        </p:txBody>
      </p:sp>
      <p:sp>
        <p:nvSpPr>
          <p:cNvPr id="9" name="Slide Number Placeholder 8">
            <a:extLst>
              <a:ext uri="{FF2B5EF4-FFF2-40B4-BE49-F238E27FC236}">
                <a16:creationId xmlns:a16="http://schemas.microsoft.com/office/drawing/2014/main" id="{6B82EF04-C5F8-64DB-3CE7-13C1D0110332}"/>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1696799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25F0A6-A276-7DA8-401C-003E90EF2F7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5A8C718D-CECD-CBA3-D348-4E58E9F5764B}"/>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7.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12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Disposable Razors 12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14A1A7B-2163-9E02-4A8D-6123F36445D8}"/>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Xtreme 3 Sensitive Disposable Razor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Sensor 3 Sensitive Disposable Razors 12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Sensor 3 Disposable Razors 12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Sensor 3 Sensitive Disposable Razors 8 Pack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A0FF850-3B66-DC2B-AF74-ED54B6F473A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D3E105B-929B-BE3E-3331-F5D24CD98773}"/>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7C4CAE0E-2447-ADED-F48B-E0F13901292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5 Sensitive Disposable Razors 8 Pack (0.0%) | Up &amp; Down Pricing | Walmart | Assumes no other are changing prices</a:t>
            </a:r>
          </a:p>
        </p:txBody>
      </p:sp>
      <p:sp>
        <p:nvSpPr>
          <p:cNvPr id="4" name="Title1">
            <a:extLst>
              <a:ext uri="{FF2B5EF4-FFF2-40B4-BE49-F238E27FC236}">
                <a16:creationId xmlns:a16="http://schemas.microsoft.com/office/drawing/2014/main" id="{BE6D1569-B9E9-DA66-17F7-973768CD9D8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4911240-E21B-D35F-6E14-F2FE2726B65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A6EA830-4375-C736-4F53-EEC207DAA40D}"/>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2AB516DF-4232-DC15-AF45-34953873397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9A826D7-288C-D2F3-78DE-73F5BEC1B4E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FCD221CD-1ECC-9421-0044-E7910B88065D}"/>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36108577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374A87-86FA-AE47-BE86-CA267CD7EBE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A18BA83-4401-09AC-5D17-505908E8D777}"/>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BC122556-0082-3E87-B963-A55842412581}"/>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68700E8D-478E-DF10-C06D-E8764F880AE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3 Body &amp; Groin Disposable Razors 3 Pack | Walmart | Assuming no other products are changing prices</a:t>
            </a:r>
          </a:p>
        </p:txBody>
      </p:sp>
      <p:sp>
        <p:nvSpPr>
          <p:cNvPr id="10" name="Title 9">
            <a:extLst>
              <a:ext uri="{FF2B5EF4-FFF2-40B4-BE49-F238E27FC236}">
                <a16:creationId xmlns:a16="http://schemas.microsoft.com/office/drawing/2014/main" id="{DDB0539A-9A30-01CD-73A2-F49C7DA1AB3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CC2B8309-F038-D778-2CDD-FA49547CF26E}"/>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0230CBF8-A08E-9F05-F3C8-19A395604BC1}"/>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CC55FA3-8ED2-7F8D-89FF-C44172E62A95}"/>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84C4E5FF-B646-554C-5522-7EE1EACE3EC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8E87652-97EA-46B1-B184-CA40DF49FE6C}"/>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998A727A-8D6A-E0CF-3CD7-2C4C496E25AA}"/>
              </a:ext>
            </a:extLst>
          </p:cNvPr>
          <p:cNvSpPr>
            <a:spLocks noGrp="1"/>
          </p:cNvSpPr>
          <p:nvPr>
            <p:ph type="sldNum" sz="quarter" idx="16"/>
          </p:nvPr>
        </p:nvSpPr>
        <p:spPr/>
        <p:txBody>
          <a:bodyPr/>
          <a:lstStyle/>
          <a:p>
            <a:fld id="{7B1F438D-4EAF-094E-9162-80CF3EF77236}" type="slidenum">
              <a:rPr lang="en-US" smtClean="0"/>
              <a:pPr/>
              <a:t>31</a:t>
            </a:fld>
            <a:endParaRPr lang="en-US"/>
          </a:p>
        </p:txBody>
      </p:sp>
      <p:sp>
        <p:nvSpPr>
          <p:cNvPr id="22" name="Rectangle 21">
            <a:extLst>
              <a:ext uri="{FF2B5EF4-FFF2-40B4-BE49-F238E27FC236}">
                <a16:creationId xmlns:a16="http://schemas.microsoft.com/office/drawing/2014/main" id="{94DDDB72-1651-ADBB-21A3-F42A3137F3DB}"/>
              </a:ext>
            </a:extLst>
          </p:cNvPr>
          <p:cNvSpPr/>
          <p:nvPr/>
        </p:nvSpPr>
        <p:spPr>
          <a:xfrm>
            <a:off x="97200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5F6A6F9D-61F2-347A-42BB-407436DB7769}"/>
              </a:ext>
            </a:extLst>
          </p:cNvPr>
          <p:cNvSpPr/>
          <p:nvPr/>
        </p:nvSpPr>
        <p:spPr>
          <a:xfrm>
            <a:off x="159372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90A1616E-3380-B8E5-9DB8-9B0F906A4B90}"/>
              </a:ext>
            </a:extLst>
          </p:cNvPr>
          <p:cNvSpPr/>
          <p:nvPr/>
        </p:nvSpPr>
        <p:spPr>
          <a:xfrm>
            <a:off x="4532760" y="1458000"/>
            <a:ext cx="2091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0281095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BB9730-5BD3-1C72-CFF6-BD1AC03EC2D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D75FF2B-633A-A12D-C29E-5E84B1FD8744}"/>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343FBC8-1A20-72BB-0799-770F6D44BB1C}"/>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C011268-A583-0EDF-DE50-6EA56ED215C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F9AFF9E-BC6C-ABB0-C977-9500C427BF72}"/>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F54F031E-FE84-3D0B-DD1C-BF38446959A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3 Body &amp; Groin Disposable Razors 3 Pack (0.0%) | Up &amp; Down Pricing | Walmart | Assumes no other are changing prices</a:t>
            </a:r>
          </a:p>
        </p:txBody>
      </p:sp>
      <p:sp>
        <p:nvSpPr>
          <p:cNvPr id="4" name="Title1">
            <a:extLst>
              <a:ext uri="{FF2B5EF4-FFF2-40B4-BE49-F238E27FC236}">
                <a16:creationId xmlns:a16="http://schemas.microsoft.com/office/drawing/2014/main" id="{88A9193D-0110-7258-7EDA-DF9A700F975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45166F2E-39B2-307A-61E9-53C207E3DB8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A6ECF2A-902C-99A4-A72D-848DA5EA9CBA}"/>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DFBFA8C1-824A-87E6-D1A2-48D7F2C15F82}"/>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7126815-D948-334A-2877-85EB8065A6AB}"/>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C6FC657E-0B4D-9101-9C9A-5C51D6459365}"/>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18719201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DB8581-761C-63AF-C8BE-8C68BC956CAB}"/>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7387D93-FC7D-3B47-749F-502792355E64}"/>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84BD1964-622B-B6A9-0965-ED3C5E3326E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80FCAED3-706E-1D0D-C5AF-6DD5F16849F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Ultimate Comfort Disposable Razors 3 Pack | Walmart | Assuming no other products are changing prices</a:t>
            </a:r>
          </a:p>
        </p:txBody>
      </p:sp>
      <p:sp>
        <p:nvSpPr>
          <p:cNvPr id="10" name="Title 9">
            <a:extLst>
              <a:ext uri="{FF2B5EF4-FFF2-40B4-BE49-F238E27FC236}">
                <a16:creationId xmlns:a16="http://schemas.microsoft.com/office/drawing/2014/main" id="{24BE5272-B8CA-5277-E2D0-3F70D80E86C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ABCD72AA-9C74-5935-277C-E55350BC408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9721784D-8C5A-FF34-A51B-B37F700AB03E}"/>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4149E48-A092-5B5C-250C-21EF82DB385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E98156C2-251A-3E8D-133F-D4E501AD4E98}"/>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F3CE81E-F714-AEAA-57D8-8208F59B0749}"/>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C43BBBBA-CD75-4FFA-90E3-9109F934076D}"/>
              </a:ext>
            </a:extLst>
          </p:cNvPr>
          <p:cNvSpPr>
            <a:spLocks noGrp="1"/>
          </p:cNvSpPr>
          <p:nvPr>
            <p:ph type="sldNum" sz="quarter" idx="16"/>
          </p:nvPr>
        </p:nvSpPr>
        <p:spPr/>
        <p:txBody>
          <a:bodyPr/>
          <a:lstStyle/>
          <a:p>
            <a:fld id="{7B1F438D-4EAF-094E-9162-80CF3EF77236}" type="slidenum">
              <a:rPr lang="en-US" smtClean="0"/>
              <a:pPr/>
              <a:t>33</a:t>
            </a:fld>
            <a:endParaRPr lang="en-US"/>
          </a:p>
        </p:txBody>
      </p:sp>
      <p:sp>
        <p:nvSpPr>
          <p:cNvPr id="22" name="Rectangle 21">
            <a:extLst>
              <a:ext uri="{FF2B5EF4-FFF2-40B4-BE49-F238E27FC236}">
                <a16:creationId xmlns:a16="http://schemas.microsoft.com/office/drawing/2014/main" id="{9A4C11CE-9A4E-E358-8422-D18845E1665D}"/>
              </a:ext>
            </a:extLst>
          </p:cNvPr>
          <p:cNvSpPr/>
          <p:nvPr/>
        </p:nvSpPr>
        <p:spPr>
          <a:xfrm>
            <a:off x="97200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A38D33EF-30AD-8C11-AC2E-89121A6EB118}"/>
              </a:ext>
            </a:extLst>
          </p:cNvPr>
          <p:cNvSpPr/>
          <p:nvPr/>
        </p:nvSpPr>
        <p:spPr>
          <a:xfrm>
            <a:off x="159372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AC6656D4-BEA1-73CD-B950-4361D4F239EA}"/>
              </a:ext>
            </a:extLst>
          </p:cNvPr>
          <p:cNvSpPr/>
          <p:nvPr/>
        </p:nvSpPr>
        <p:spPr>
          <a:xfrm>
            <a:off x="4532760" y="1458000"/>
            <a:ext cx="2091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32488300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1AF0B6-12B1-3FD7-46EF-85F1B120C57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1624820-E97B-B6F8-06D8-F4372C06D302}"/>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FCAECC7-1CD5-B961-F7A6-0CC4C6672802}"/>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6814BEC-305D-F0F7-26A0-6E017705D65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FEC3D10-E666-42A9-AF92-8AF0220974C1}"/>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31303A5C-3E50-CFC7-933A-F7B5E9CEAC9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Ultimate Comfort Disposable Razors 3 Pack (0.0%) | Up &amp; Down Pricing | Walmart | Assumes no other are changing prices</a:t>
            </a:r>
          </a:p>
        </p:txBody>
      </p:sp>
      <p:sp>
        <p:nvSpPr>
          <p:cNvPr id="4" name="Title1">
            <a:extLst>
              <a:ext uri="{FF2B5EF4-FFF2-40B4-BE49-F238E27FC236}">
                <a16:creationId xmlns:a16="http://schemas.microsoft.com/office/drawing/2014/main" id="{EBB34670-B290-C328-3F09-1A51E114F58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4850190-5D69-6603-CCCF-B6F2A032904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0F079E5-2E40-E21D-4A4C-AA3CB805BD35}"/>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9BEDA07-01B2-EAE4-37E8-96FE9E9001B9}"/>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A07DA4A-B5BB-C38C-B5BD-DA2982DA5A69}"/>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8DEF836A-A371-632A-10D2-717464C571ED}"/>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11236497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3F754B-2782-5BC7-5619-309838D1EAC2}"/>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342F295-7477-8226-0C6B-8424762C47B7}"/>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409FB97D-19E5-58BA-BEB7-3E9234C971B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FF61EF54-6DF4-598C-3665-81DA168AB0B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First 4 Blade Disposable Razors 3 Pack | Walmart | Assuming no other products are changing prices</a:t>
            </a:r>
          </a:p>
        </p:txBody>
      </p:sp>
      <p:sp>
        <p:nvSpPr>
          <p:cNvPr id="10" name="Title 9">
            <a:extLst>
              <a:ext uri="{FF2B5EF4-FFF2-40B4-BE49-F238E27FC236}">
                <a16:creationId xmlns:a16="http://schemas.microsoft.com/office/drawing/2014/main" id="{B4B2ED85-33EB-9583-0A48-0DA5543EAC5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2E5EAC34-DF8D-F78F-F02C-D28A9F4A6C1F}"/>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2D01EEC0-3EC6-39CF-012D-DD513F30BDF3}"/>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2093C05E-DF89-172C-8967-44AD9C18E7D0}"/>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82ACAD6-15E2-E1F9-D75C-CC21230A8BFB}"/>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4D4919E-6608-4F5A-492E-A5138EAC192A}"/>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10AB2232-AA6B-DECF-241A-DE58146E9316}"/>
              </a:ext>
            </a:extLst>
          </p:cNvPr>
          <p:cNvSpPr>
            <a:spLocks noGrp="1"/>
          </p:cNvSpPr>
          <p:nvPr>
            <p:ph type="sldNum" sz="quarter" idx="16"/>
          </p:nvPr>
        </p:nvSpPr>
        <p:spPr/>
        <p:txBody>
          <a:bodyPr/>
          <a:lstStyle/>
          <a:p>
            <a:fld id="{7B1F438D-4EAF-094E-9162-80CF3EF77236}" type="slidenum">
              <a:rPr lang="en-US" smtClean="0"/>
              <a:pPr/>
              <a:t>35</a:t>
            </a:fld>
            <a:endParaRPr lang="en-US"/>
          </a:p>
        </p:txBody>
      </p:sp>
      <p:sp>
        <p:nvSpPr>
          <p:cNvPr id="22" name="Rectangle 21">
            <a:extLst>
              <a:ext uri="{FF2B5EF4-FFF2-40B4-BE49-F238E27FC236}">
                <a16:creationId xmlns:a16="http://schemas.microsoft.com/office/drawing/2014/main" id="{B41EB51A-3098-6BDD-2306-427D8DEB76C2}"/>
              </a:ext>
            </a:extLst>
          </p:cNvPr>
          <p:cNvSpPr/>
          <p:nvPr/>
        </p:nvSpPr>
        <p:spPr>
          <a:xfrm>
            <a:off x="97200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74F8E2EC-B884-7A91-D738-FEE46D574110}"/>
              </a:ext>
            </a:extLst>
          </p:cNvPr>
          <p:cNvSpPr/>
          <p:nvPr/>
        </p:nvSpPr>
        <p:spPr>
          <a:xfrm>
            <a:off x="2271960" y="1458000"/>
            <a:ext cx="4352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9675243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8F1376-FD24-21B1-442E-9F1A71F1755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02A4F41-3198-4662-2F09-259B24C802FD}"/>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5ACED15-1D73-D353-48BB-2B3800B8C75B}"/>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6F8F3E5-AC72-5E83-0923-8FD57234A66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0A26D02-2638-69D4-D957-A2EE0343887D}"/>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E8DC123D-00A5-2616-2298-0780575271E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First 4 Blade Disposable Razors 3 Pack (0.0%) | Up &amp; Down Pricing | Walmart | Assumes no other are changing prices</a:t>
            </a:r>
          </a:p>
        </p:txBody>
      </p:sp>
      <p:sp>
        <p:nvSpPr>
          <p:cNvPr id="4" name="Title1">
            <a:extLst>
              <a:ext uri="{FF2B5EF4-FFF2-40B4-BE49-F238E27FC236}">
                <a16:creationId xmlns:a16="http://schemas.microsoft.com/office/drawing/2014/main" id="{66D0B043-BB92-6679-7A9B-71535636255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67C8DC2-CB9B-234E-2B61-E2A0F40ADB1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2A2E074-4346-6E2E-AA27-159A22A052FF}"/>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2056F1D6-E568-714F-D661-F304EADDD57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4338896-BD2B-E06D-3A4A-C379DCE27602}"/>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85435E01-4F02-7273-853C-86E3FE713324}"/>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40674505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0F80C-3C30-555E-A208-BE2885CA30E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7924B0DC-BFEF-F07D-AC6C-DBE8A1C74151}"/>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577C82F8-38D9-7C9F-8E77-7C439FF2E0D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43D0B90-C7E1-0490-60FF-F4942F52B059}"/>
              </a:ext>
            </a:extLst>
          </p:cNvPr>
          <p:cNvSpPr>
            <a:spLocks noGrp="1"/>
          </p:cNvSpPr>
          <p:nvPr>
            <p:ph type="body" sz="quarter" idx="18"/>
          </p:nvPr>
        </p:nvSpPr>
        <p:spPr>
          <a:xfrm>
            <a:off x="503238" y="774000"/>
            <a:ext cx="8136762" cy="360000"/>
          </a:xfrm>
        </p:spPr>
        <p:txBody>
          <a:bodyPr/>
          <a:lstStyle/>
          <a:p>
            <a:pPr>
              <a:defRPr sz="1200">
                <a:latin typeface="Nexa Bold (Headings)"/>
              </a:defRPr>
            </a:pPr>
            <a:r>
              <a:t>Disposables (2) | Price Elasticity | Walmart | Assumes no other products are changing prices</a:t>
            </a:r>
          </a:p>
        </p:txBody>
      </p:sp>
      <p:sp>
        <p:nvSpPr>
          <p:cNvPr id="18" name="Title 17">
            <a:extLst>
              <a:ext uri="{FF2B5EF4-FFF2-40B4-BE49-F238E27FC236}">
                <a16:creationId xmlns:a16="http://schemas.microsoft.com/office/drawing/2014/main" id="{A8587938-3038-B237-E9DB-A6F55CF5F348}"/>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D5216F0B-0E95-044B-ADC1-77649B74C2F4}"/>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Xtreme 3 Sensitive Disposable Razors 8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9.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Xtreme 3 Sensitive Disposable Razors 12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5.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9%</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0874EAA1-F8F9-002B-BC51-E2F28EFB4D07}"/>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89DBB5D5-4945-9A0D-9831-4D2079C919C7}"/>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0D96EE19-FE31-4900-850F-B704AA16EC4A}"/>
              </a:ext>
            </a:extLst>
          </p:cNvPr>
          <p:cNvSpPr>
            <a:spLocks noGrp="1"/>
          </p:cNvSpPr>
          <p:nvPr>
            <p:ph type="sldNum" sz="quarter" idx="16"/>
          </p:nvPr>
        </p:nvSpPr>
        <p:spPr/>
        <p:txBody>
          <a:bodyPr/>
          <a:lstStyle/>
          <a:p>
            <a:fld id="{7B1F438D-4EAF-094E-9162-80CF3EF77236}" type="slidenum">
              <a:rPr lang="en-US" smtClean="0"/>
              <a:pPr/>
              <a:t>37</a:t>
            </a:fld>
            <a:endParaRPr lang="en-US"/>
          </a:p>
        </p:txBody>
      </p:sp>
      <p:sp>
        <p:nvSpPr>
          <p:cNvPr id="3" name="TextBox Y">
            <a:extLst>
              <a:ext uri="{FF2B5EF4-FFF2-40B4-BE49-F238E27FC236}">
                <a16:creationId xmlns:a16="http://schemas.microsoft.com/office/drawing/2014/main" id="{2DDD2856-876E-E4F0-10C4-3FAD85CDCEEC}"/>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840324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1D5A9D-FD9E-6C6C-2AF4-879D2704D29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3AE9B38-2FBE-9058-BFB1-176E3A54C9AE}"/>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9B52803-E9E1-717E-A7CF-727ED7DD3B01}"/>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1496E837-B12C-D7CB-0649-63B5D697C9C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3 Sensitive Disposable Razors 8 Pack | Walmart | Assuming no other products are changing prices</a:t>
            </a:r>
          </a:p>
        </p:txBody>
      </p:sp>
      <p:sp>
        <p:nvSpPr>
          <p:cNvPr id="10" name="Title 9">
            <a:extLst>
              <a:ext uri="{FF2B5EF4-FFF2-40B4-BE49-F238E27FC236}">
                <a16:creationId xmlns:a16="http://schemas.microsoft.com/office/drawing/2014/main" id="{A6E6CDC5-E523-0F61-F171-60FBA0CB07C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177ACC73-F9D1-F1CB-FA0D-B53D1582F758}"/>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B7FEC9CC-E57D-FB46-F5CF-40C320BC8B06}"/>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2EA135AF-D42C-E6EF-EB8E-C3F798DAA87C}"/>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DC39FAA6-46F2-3892-C027-539EBC56468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B2BBCAF-9D10-F070-30BB-81954EEB1A87}"/>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DE1758BA-6C49-BD95-E84D-CDB52F82381A}"/>
              </a:ext>
            </a:extLst>
          </p:cNvPr>
          <p:cNvSpPr>
            <a:spLocks noGrp="1"/>
          </p:cNvSpPr>
          <p:nvPr>
            <p:ph type="sldNum" sz="quarter" idx="16"/>
          </p:nvPr>
        </p:nvSpPr>
        <p:spPr/>
        <p:txBody>
          <a:bodyPr/>
          <a:lstStyle/>
          <a:p>
            <a:fld id="{7B1F438D-4EAF-094E-9162-80CF3EF77236}" type="slidenum">
              <a:rPr lang="en-US" smtClean="0"/>
              <a:pPr/>
              <a:t>38</a:t>
            </a:fld>
            <a:endParaRPr lang="en-US"/>
          </a:p>
        </p:txBody>
      </p:sp>
      <p:sp>
        <p:nvSpPr>
          <p:cNvPr id="22" name="Rectangle 21">
            <a:extLst>
              <a:ext uri="{FF2B5EF4-FFF2-40B4-BE49-F238E27FC236}">
                <a16:creationId xmlns:a16="http://schemas.microsoft.com/office/drawing/2014/main" id="{C1589C1B-0D25-7316-399F-A318E99CD08C}"/>
              </a:ext>
            </a:extLst>
          </p:cNvPr>
          <p:cNvSpPr/>
          <p:nvPr/>
        </p:nvSpPr>
        <p:spPr>
          <a:xfrm>
            <a:off x="97200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D9A60B2B-C310-0069-7692-FC7338B60652}"/>
              </a:ext>
            </a:extLst>
          </p:cNvPr>
          <p:cNvSpPr/>
          <p:nvPr/>
        </p:nvSpPr>
        <p:spPr>
          <a:xfrm>
            <a:off x="181980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78E7F6EF-5C22-A71F-24FB-EC3214B6CCA3}"/>
              </a:ext>
            </a:extLst>
          </p:cNvPr>
          <p:cNvSpPr/>
          <p:nvPr/>
        </p:nvSpPr>
        <p:spPr>
          <a:xfrm>
            <a:off x="2950200" y="1458000"/>
            <a:ext cx="2543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a:extLst>
              <a:ext uri="{FF2B5EF4-FFF2-40B4-BE49-F238E27FC236}">
                <a16:creationId xmlns:a16="http://schemas.microsoft.com/office/drawing/2014/main" id="{FABEF424-EB71-5059-2850-737BEF982603}"/>
              </a:ext>
            </a:extLst>
          </p:cNvPr>
          <p:cNvSpPr/>
          <p:nvPr/>
        </p:nvSpPr>
        <p:spPr>
          <a:xfrm>
            <a:off x="54936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9530432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31DDBA-D9EB-58F0-2A8F-3BBDBE360E53}"/>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FB4763B-BA4D-769B-B8EB-38F2C971ED0B}"/>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E20F7EA5-F175-55A3-1FA9-09C313041B79}"/>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5AA4F83-B4D9-C8F0-9774-C00B5EF3D24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6FD9601-FA11-7F29-DEB2-55F5EA3E29CD}"/>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975F3768-D9A9-22C0-2BE3-458C9AA7C8D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3 Sensitive Disposable Razors 8 Pack (1.7%) | Up &amp; Down Pricing | Walmart | Assumes no other are changing prices</a:t>
            </a:r>
          </a:p>
        </p:txBody>
      </p:sp>
      <p:sp>
        <p:nvSpPr>
          <p:cNvPr id="4" name="Title1">
            <a:extLst>
              <a:ext uri="{FF2B5EF4-FFF2-40B4-BE49-F238E27FC236}">
                <a16:creationId xmlns:a16="http://schemas.microsoft.com/office/drawing/2014/main" id="{EDBA354B-E78A-EB6A-3AD8-C5468CE0229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1B6EF6B9-429E-6E1C-8FA7-F1AAD3087E8F}"/>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5A6BBA55-160E-CD87-8804-662C2AB06FE7}"/>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6934FFE1-A339-146B-1D18-25794E26DDEA}"/>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1D94722-E4CF-4560-A143-772A9A908211}"/>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9A0041EB-C913-E2EB-6956-4B5AC0B736D9}"/>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23209892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800AA6-18F2-4FAD-0171-7C959A7324FA}"/>
            </a:ext>
          </a:extLst>
        </p:cNvPr>
        <p:cNvGrpSpPr/>
        <p:nvPr/>
      </p:nvGrpSpPr>
      <p:grpSpPr>
        <a:xfrm>
          <a:off x="0" y="0"/>
          <a:ext cx="0" cy="0"/>
          <a:chOff x="0" y="0"/>
          <a:chExt cx="0" cy="0"/>
        </a:xfrm>
      </p:grpSpPr>
      <p:sp>
        <p:nvSpPr>
          <p:cNvPr id="5" name="Footer Placeholder 4">
            <a:extLst>
              <a:ext uri="{FF2B5EF4-FFF2-40B4-BE49-F238E27FC236}">
                <a16:creationId xmlns:a16="http://schemas.microsoft.com/office/drawing/2014/main" id="{2148115A-31FB-76F9-30E1-7619983C95D8}"/>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07F19AC-E911-2C4A-C3B0-A6026E7A8CE2}"/>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12" name="Head">
            <a:extLst>
              <a:ext uri="{FF2B5EF4-FFF2-40B4-BE49-F238E27FC236}">
                <a16:creationId xmlns:a16="http://schemas.microsoft.com/office/drawing/2014/main" id="{65F05E75-6739-09C1-2021-10725042A74A}"/>
              </a:ext>
            </a:extLst>
          </p:cNvPr>
          <p:cNvSpPr>
            <a:spLocks noGrp="1"/>
          </p:cNvSpPr>
          <p:nvPr>
            <p:ph type="body" sz="quarter" idx="18"/>
          </p:nvPr>
        </p:nvSpPr>
        <p:spPr>
          <a:xfrm>
            <a:off x="503238" y="774000"/>
            <a:ext cx="8136762" cy="360000"/>
          </a:xfrm>
        </p:spPr>
        <p:txBody>
          <a:bodyPr/>
          <a:lstStyle/>
          <a:p>
            <a:pPr>
              <a:defRPr sz="1200"/>
            </a:pPr>
            <a:r>
              <a:t>Based on price change | by Brand | Blade | Walmart</a:t>
            </a:r>
          </a:p>
        </p:txBody>
      </p:sp>
      <p:sp>
        <p:nvSpPr>
          <p:cNvPr id="3" name="Title 2">
            <a:extLst>
              <a:ext uri="{FF2B5EF4-FFF2-40B4-BE49-F238E27FC236}">
                <a16:creationId xmlns:a16="http://schemas.microsoft.com/office/drawing/2014/main" id="{2C8FE47D-366E-84F6-10BD-DE34CCEF3E3A}"/>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79A59D16-D9F3-53BC-1FB9-B0DE83DBD6C9}"/>
              </a:ext>
            </a:extLst>
          </p:cNvPr>
          <p:cNvGraphicFramePr>
            <a:graphicFrameLocks/>
          </p:cNvGraphicFramePr>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BC88B06-79EF-9DD5-2D02-D514BEEADE98}"/>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D346688E-5E3D-38D2-BD80-4998CD491033}"/>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5AC83A7-B405-F912-BF14-B535E04B7F3C}"/>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80ADB029-0110-715F-7844-978C41BC0595}"/>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EC46BE99-153F-93A0-2849-8C3B43A3EAB6}"/>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3A7C0B89-BAF5-55E1-D3F8-061576B1EE8B}"/>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12B9FB29-9A24-5C98-87DC-63D76008996E}"/>
              </a:ext>
            </a:extLst>
          </p:cNvPr>
          <p:cNvSpPr>
            <a:spLocks noGrp="1"/>
          </p:cNvSpPr>
          <p:nvPr>
            <p:ph type="dt" sz="half" idx="14"/>
          </p:nvPr>
        </p:nvSpPr>
        <p:spPr/>
        <p:txBody>
          <a:bodyPr/>
          <a:lstStyle/>
          <a:p>
            <a:fld id="{AD583B17-CA9E-4798-A693-AB6BF9A9B56D}" type="datetime1">
              <a:rPr lang="en-US" smtClean="0"/>
              <a:t>8/15/2025</a:t>
            </a:fld>
            <a:endParaRPr lang="en-US"/>
          </a:p>
        </p:txBody>
      </p:sp>
      <p:sp>
        <p:nvSpPr>
          <p:cNvPr id="9" name="Slide Number Placeholder 8">
            <a:extLst>
              <a:ext uri="{FF2B5EF4-FFF2-40B4-BE49-F238E27FC236}">
                <a16:creationId xmlns:a16="http://schemas.microsoft.com/office/drawing/2014/main" id="{14BD4CDB-82BB-AE09-1B52-27E24287F591}"/>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35589956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3F9B2E-8476-A1EF-68DA-62AA78A5096B}"/>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A4E6968-156B-B191-E1FA-E3A2C594339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B8D1FF9E-8631-D897-78FC-D41F132F2152}"/>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E598274E-200F-10A0-08E7-8629862B673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3 Sensitive Disposable Razors 12 Pack | Walmart | Assuming no other products are changing prices</a:t>
            </a:r>
          </a:p>
        </p:txBody>
      </p:sp>
      <p:sp>
        <p:nvSpPr>
          <p:cNvPr id="10" name="Title 9">
            <a:extLst>
              <a:ext uri="{FF2B5EF4-FFF2-40B4-BE49-F238E27FC236}">
                <a16:creationId xmlns:a16="http://schemas.microsoft.com/office/drawing/2014/main" id="{92B67CB5-A7B4-EE16-1134-B9BA874F4A7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533C15E2-9260-F920-7F74-4D09EBEE6D82}"/>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927AD000-1E0A-09C6-F0B2-5176F0EB29F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D2F99C3-1080-D46A-D9AB-2F08CA4937FE}"/>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CCF12543-76EB-BFF1-7453-794EDEB2C35A}"/>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820F7DE-CF75-88B2-5511-6E5F5AE4E3E1}"/>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DFA38EA1-A2C4-44B3-3D56-F19C8E3C3D7C}"/>
              </a:ext>
            </a:extLst>
          </p:cNvPr>
          <p:cNvSpPr>
            <a:spLocks noGrp="1"/>
          </p:cNvSpPr>
          <p:nvPr>
            <p:ph type="sldNum" sz="quarter" idx="16"/>
          </p:nvPr>
        </p:nvSpPr>
        <p:spPr/>
        <p:txBody>
          <a:bodyPr/>
          <a:lstStyle/>
          <a:p>
            <a:fld id="{7B1F438D-4EAF-094E-9162-80CF3EF77236}" type="slidenum">
              <a:rPr lang="en-US" smtClean="0"/>
              <a:pPr/>
              <a:t>40</a:t>
            </a:fld>
            <a:endParaRPr lang="en-US"/>
          </a:p>
        </p:txBody>
      </p:sp>
      <p:sp>
        <p:nvSpPr>
          <p:cNvPr id="22" name="Rectangle 21">
            <a:extLst>
              <a:ext uri="{FF2B5EF4-FFF2-40B4-BE49-F238E27FC236}">
                <a16:creationId xmlns:a16="http://schemas.microsoft.com/office/drawing/2014/main" id="{6F968CF1-8A9C-8255-5E33-0356AC6001D7}"/>
              </a:ext>
            </a:extLst>
          </p:cNvPr>
          <p:cNvSpPr/>
          <p:nvPr/>
        </p:nvSpPr>
        <p:spPr>
          <a:xfrm>
            <a:off x="972000" y="1458000"/>
            <a:ext cx="2260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4F76AAFB-1632-32AE-FEE4-75C93C1EDCF0}"/>
              </a:ext>
            </a:extLst>
          </p:cNvPr>
          <p:cNvSpPr/>
          <p:nvPr/>
        </p:nvSpPr>
        <p:spPr>
          <a:xfrm>
            <a:off x="3232800" y="1458000"/>
            <a:ext cx="3391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4828630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256642-7F21-F996-AAF4-50DEC66A46A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479CDA0-DC02-35ED-3F55-9C29B8051DEB}"/>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9.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7.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9.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12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0A6425C-9109-36DF-ED72-0A7DAB21745C}"/>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Gillette Sensor 3 Sensitive Disposable Razors 12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Gillette Sensor 3 Sensitive Disposable Razors 8 Pack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CE9AB498-795E-C122-2802-39B71095C39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4D4653D-FAE3-26C3-39E9-4DE52B656C1D}"/>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B7C896F5-539C-993C-4827-0AC4327D12D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3 Sensitive Disposable Razors 12 Pack (0.9%) | Up &amp; Down Pricing | Walmart | Assumes no other are changing prices</a:t>
            </a:r>
          </a:p>
        </p:txBody>
      </p:sp>
      <p:sp>
        <p:nvSpPr>
          <p:cNvPr id="4" name="Title1">
            <a:extLst>
              <a:ext uri="{FF2B5EF4-FFF2-40B4-BE49-F238E27FC236}">
                <a16:creationId xmlns:a16="http://schemas.microsoft.com/office/drawing/2014/main" id="{FCF2E326-28CC-B134-CA1B-2AAAC2B6E2D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7781375-79D3-C3A0-DE05-D99D455F0214}"/>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8C31ACB3-DA74-FEEE-D681-436A65F5707C}"/>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3F93AB7-91B8-A345-33E5-17116BD7A84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EB9779B-884F-BC91-9AF5-57515F81AD59}"/>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4DA416AD-1E7E-F04F-5720-F778749E72B6}"/>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11103923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D7336D-839C-D5B2-EC70-A18A7D2A561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B17AD7A-D504-1C61-7E98-3D385F8F5E69}"/>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F4221147-F074-C1FE-30AC-CC8FB08145ED}"/>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7AC23D8C-1264-61DE-9025-7118A73A5E1C}"/>
              </a:ext>
            </a:extLst>
          </p:cNvPr>
          <p:cNvSpPr>
            <a:spLocks noGrp="1"/>
          </p:cNvSpPr>
          <p:nvPr>
            <p:ph type="body" sz="quarter" idx="18"/>
          </p:nvPr>
        </p:nvSpPr>
        <p:spPr>
          <a:xfrm>
            <a:off x="503238" y="774000"/>
            <a:ext cx="8136762" cy="360000"/>
          </a:xfrm>
        </p:spPr>
        <p:txBody>
          <a:bodyPr/>
          <a:lstStyle/>
          <a:p>
            <a:pPr>
              <a:defRPr sz="1200">
                <a:latin typeface="Nexa Bold (Headings)"/>
              </a:defRPr>
            </a:pPr>
            <a:r>
              <a:t>Razors | Price Elasticity | Walmart | Assumes no other products are changing prices</a:t>
            </a:r>
          </a:p>
        </p:txBody>
      </p:sp>
      <p:sp>
        <p:nvSpPr>
          <p:cNvPr id="18" name="Title 17">
            <a:extLst>
              <a:ext uri="{FF2B5EF4-FFF2-40B4-BE49-F238E27FC236}">
                <a16:creationId xmlns:a16="http://schemas.microsoft.com/office/drawing/2014/main" id="{9C584461-DB33-8D06-D139-A1D2EA465F3A}"/>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44CA34C0-BE18-D043-219D-8D0CC0E0F9C7}"/>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3 Blade Ultra Sensitive 1 Handle + 4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5 Blade Sensitive 1 Handle + 3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8.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87EE0278-4F27-7E0B-00B5-D3D84935E65A}"/>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54E5E259-C77D-621A-9A41-6C095CF0BF2D}"/>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52D86DDB-B65E-612A-D5EE-4EEDD31C8F23}"/>
              </a:ext>
            </a:extLst>
          </p:cNvPr>
          <p:cNvSpPr>
            <a:spLocks noGrp="1"/>
          </p:cNvSpPr>
          <p:nvPr>
            <p:ph type="sldNum" sz="quarter" idx="16"/>
          </p:nvPr>
        </p:nvSpPr>
        <p:spPr/>
        <p:txBody>
          <a:bodyPr/>
          <a:lstStyle/>
          <a:p>
            <a:fld id="{7B1F438D-4EAF-094E-9162-80CF3EF77236}" type="slidenum">
              <a:rPr lang="en-US" smtClean="0"/>
              <a:pPr/>
              <a:t>42</a:t>
            </a:fld>
            <a:endParaRPr lang="en-US"/>
          </a:p>
        </p:txBody>
      </p:sp>
      <p:sp>
        <p:nvSpPr>
          <p:cNvPr id="3" name="TextBox Y">
            <a:extLst>
              <a:ext uri="{FF2B5EF4-FFF2-40B4-BE49-F238E27FC236}">
                <a16:creationId xmlns:a16="http://schemas.microsoft.com/office/drawing/2014/main" id="{96F7703E-5337-2238-C37E-42B4BE642BD1}"/>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1620167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F24753-C418-4F47-55D1-B9A29D1CDA4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1C7DC0BE-E6B2-BD27-39FC-60B1E2DC9732}"/>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F8F023DF-2500-1C6A-648D-4208C76AAA7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728A9702-4554-89E3-466D-4CA0AE6CCBF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3 Blade Ultra Sensitive 1 Handle + 4 Cartridges | Walmart | Assuming no other products are changing prices</a:t>
            </a:r>
          </a:p>
        </p:txBody>
      </p:sp>
      <p:sp>
        <p:nvSpPr>
          <p:cNvPr id="10" name="Title 9">
            <a:extLst>
              <a:ext uri="{FF2B5EF4-FFF2-40B4-BE49-F238E27FC236}">
                <a16:creationId xmlns:a16="http://schemas.microsoft.com/office/drawing/2014/main" id="{FB2B1820-2126-5C3C-4ECC-F56556F0933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ABFFF40C-4BC6-1399-AAD3-3FBE7F6CD41A}"/>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E8FBF02A-79CB-E1A2-8968-5C2A4F80DD1F}"/>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7E6A653-9EE5-EB94-A87C-C12F482A2A83}"/>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70711E80-4100-3D43-4987-8EBBC46E56F5}"/>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1C4A9B7-3E3B-9AD5-D507-F497B25B4A2A}"/>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83C82FF7-9C06-5C97-F6CF-52F0BABEA310}"/>
              </a:ext>
            </a:extLst>
          </p:cNvPr>
          <p:cNvSpPr>
            <a:spLocks noGrp="1"/>
          </p:cNvSpPr>
          <p:nvPr>
            <p:ph type="sldNum" sz="quarter" idx="16"/>
          </p:nvPr>
        </p:nvSpPr>
        <p:spPr/>
        <p:txBody>
          <a:bodyPr/>
          <a:lstStyle/>
          <a:p>
            <a:fld id="{7B1F438D-4EAF-094E-9162-80CF3EF77236}" type="slidenum">
              <a:rPr lang="en-US" smtClean="0"/>
              <a:pPr/>
              <a:t>43</a:t>
            </a:fld>
            <a:endParaRPr lang="en-US"/>
          </a:p>
        </p:txBody>
      </p:sp>
      <p:sp>
        <p:nvSpPr>
          <p:cNvPr id="22" name="Rectangle 21">
            <a:extLst>
              <a:ext uri="{FF2B5EF4-FFF2-40B4-BE49-F238E27FC236}">
                <a16:creationId xmlns:a16="http://schemas.microsoft.com/office/drawing/2014/main" id="{EE88450B-3426-04A7-8239-4DD9DAF55178}"/>
              </a:ext>
            </a:extLst>
          </p:cNvPr>
          <p:cNvSpPr/>
          <p:nvPr/>
        </p:nvSpPr>
        <p:spPr>
          <a:xfrm>
            <a:off x="97200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9D88A4FF-3A4E-B4B8-8BF1-6E3EC830A37C}"/>
              </a:ext>
            </a:extLst>
          </p:cNvPr>
          <p:cNvSpPr/>
          <p:nvPr/>
        </p:nvSpPr>
        <p:spPr>
          <a:xfrm>
            <a:off x="1593720" y="1458000"/>
            <a:ext cx="3560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606E6094-B8EB-5294-85C6-E869CB7385B1}"/>
              </a:ext>
            </a:extLst>
          </p:cNvPr>
          <p:cNvSpPr/>
          <p:nvPr/>
        </p:nvSpPr>
        <p:spPr>
          <a:xfrm>
            <a:off x="5154480" y="1458000"/>
            <a:ext cx="1469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5841097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EF2C99-BD62-89E1-3A56-8AD39B3F38C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9AC5DE8-EC43-71A5-84E0-A404DCAEF65E}"/>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9.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9.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DEF3B34B-CFE0-68AF-4FA0-9515408A222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067F9F9-68C7-DADD-1E6F-53D3BBA0AEC2}"/>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3767268-5A59-07B8-2C35-4133E38783C1}"/>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14CEA3E9-CA83-FAE5-6247-8E89850376B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3 Blade Ultra Sensitive 1 Handle + 4 Cartridges (0.1%) | Up &amp; Down Pricing | Walmart | Assumes no other are changing prices</a:t>
            </a:r>
          </a:p>
        </p:txBody>
      </p:sp>
      <p:sp>
        <p:nvSpPr>
          <p:cNvPr id="4" name="Title1">
            <a:extLst>
              <a:ext uri="{FF2B5EF4-FFF2-40B4-BE49-F238E27FC236}">
                <a16:creationId xmlns:a16="http://schemas.microsoft.com/office/drawing/2014/main" id="{F125A32F-84A0-E34B-2ADC-30C5FE2689F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77246E5D-C480-E06E-1726-1F86D671087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31C9932-2A3A-9DE1-57E2-84C71C6F3765}"/>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CDABE341-423A-E265-97E6-146B57A1EA4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A209ABD-43C0-9C23-A6D4-F2E3667C8718}"/>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1F29EE16-A363-D2D3-B0F0-F8D8F0F6B147}"/>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314219508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320EDF-04CB-41BC-F95D-77CC1A255A8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0521E60-CFA7-D487-4574-5C715DA84376}"/>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642FDAD0-BBCC-88E6-6209-2B58195CE6A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CBECEA05-5265-F3EC-A64F-A5C1A625F3A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Sensitive 1 Handle + 3 Cartridges | Walmart | Assuming no other products are changing prices</a:t>
            </a:r>
          </a:p>
        </p:txBody>
      </p:sp>
      <p:sp>
        <p:nvSpPr>
          <p:cNvPr id="10" name="Title 9">
            <a:extLst>
              <a:ext uri="{FF2B5EF4-FFF2-40B4-BE49-F238E27FC236}">
                <a16:creationId xmlns:a16="http://schemas.microsoft.com/office/drawing/2014/main" id="{5F43052C-9C0F-0DE7-C033-B3CF0918902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9D6DADD7-A2F8-C9CA-91C0-A999EFDFBE80}"/>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34AFC152-E1E7-ABC2-DA44-0F54F8D263E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7F6DAD9-0688-A15B-C67E-21C306EC92DA}"/>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4957EFD-0B74-CBCE-CEB8-5B16F0613073}"/>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920832A-A79A-370B-2C27-BB38D11708F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301CE8FC-D85C-06E9-8A39-F0C5614D577E}"/>
              </a:ext>
            </a:extLst>
          </p:cNvPr>
          <p:cNvSpPr>
            <a:spLocks noGrp="1"/>
          </p:cNvSpPr>
          <p:nvPr>
            <p:ph type="sldNum" sz="quarter" idx="16"/>
          </p:nvPr>
        </p:nvSpPr>
        <p:spPr/>
        <p:txBody>
          <a:bodyPr/>
          <a:lstStyle/>
          <a:p>
            <a:fld id="{7B1F438D-4EAF-094E-9162-80CF3EF77236}" type="slidenum">
              <a:rPr lang="en-US" smtClean="0"/>
              <a:pPr/>
              <a:t>45</a:t>
            </a:fld>
            <a:endParaRPr lang="en-US"/>
          </a:p>
        </p:txBody>
      </p:sp>
      <p:sp>
        <p:nvSpPr>
          <p:cNvPr id="22" name="Rectangle 21">
            <a:extLst>
              <a:ext uri="{FF2B5EF4-FFF2-40B4-BE49-F238E27FC236}">
                <a16:creationId xmlns:a16="http://schemas.microsoft.com/office/drawing/2014/main" id="{1B114202-5B58-8E71-44BB-33F1C0BA44F5}"/>
              </a:ext>
            </a:extLst>
          </p:cNvPr>
          <p:cNvSpPr/>
          <p:nvPr/>
        </p:nvSpPr>
        <p:spPr>
          <a:xfrm>
            <a:off x="97200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EFBAEA3F-4B51-334C-B2BF-1DF49DAD26D4}"/>
              </a:ext>
            </a:extLst>
          </p:cNvPr>
          <p:cNvSpPr/>
          <p:nvPr/>
        </p:nvSpPr>
        <p:spPr>
          <a:xfrm>
            <a:off x="3063240" y="1458000"/>
            <a:ext cx="3560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24420476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81747A-EA8E-61C1-C713-1DB8075CB35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786B243-7839-812A-62CA-00ABF0D772F6}"/>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7.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95F456F-2AA7-ECD1-BC08-F020E72D5A1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chick Hydro 3 Blade Ultra Sensitive 1 Handle + 4 Cartridges (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A7CE0FA-FEE3-6655-13D7-866B107B2B7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C93FB9A-9E4B-7B93-F948-3FB3E5758F1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6EB911-F594-7996-43A9-2F003603638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Sensitive 1 Handle + 3 Cartridges (2.0%) | Up &amp; Down Pricing | Walmart | Assumes no other are changing prices</a:t>
            </a:r>
          </a:p>
        </p:txBody>
      </p:sp>
      <p:sp>
        <p:nvSpPr>
          <p:cNvPr id="4" name="Title1">
            <a:extLst>
              <a:ext uri="{FF2B5EF4-FFF2-40B4-BE49-F238E27FC236}">
                <a16:creationId xmlns:a16="http://schemas.microsoft.com/office/drawing/2014/main" id="{4DF1760F-C7FE-4BFF-9C89-A1401CD4DD9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34862B7-DF03-C406-4F28-942D8C2351D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5F99091-C9AA-9539-39A6-1E2D707D035E}"/>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B4DF8462-FB77-D61B-4339-A8F081C199B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371BCBB-14F5-7BE3-60E4-4C9B3B847FBD}"/>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449CDEA3-3CE2-A52F-4BC3-DAC31976F15C}"/>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3399875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F039DF-6B10-0BA4-6182-AFE5B924EB6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F65034A-63E9-968B-D40A-57FBC4C4047A}"/>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259FE894-4024-CA1B-B0EA-E7ADCFF6D16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3DB4C63F-C848-72BA-FCC2-44A54156FF25}"/>
              </a:ext>
            </a:extLst>
          </p:cNvPr>
          <p:cNvSpPr>
            <a:spLocks noGrp="1"/>
          </p:cNvSpPr>
          <p:nvPr>
            <p:ph type="body" sz="quarter" idx="18"/>
          </p:nvPr>
        </p:nvSpPr>
        <p:spPr>
          <a:xfrm>
            <a:off x="503238" y="774000"/>
            <a:ext cx="8136762" cy="360000"/>
          </a:xfrm>
        </p:spPr>
        <p:txBody>
          <a:bodyPr/>
          <a:lstStyle/>
          <a:p>
            <a:pPr>
              <a:defRPr sz="1200">
                <a:latin typeface="Nexa Bold (Headings)"/>
              </a:defRPr>
            </a:pPr>
            <a:r>
              <a:t>Razor Innovation (1) | Price Elasticity | Walmart | Assumes no other products are changing prices</a:t>
            </a:r>
          </a:p>
        </p:txBody>
      </p:sp>
      <p:sp>
        <p:nvSpPr>
          <p:cNvPr id="18" name="Title 17">
            <a:extLst>
              <a:ext uri="{FF2B5EF4-FFF2-40B4-BE49-F238E27FC236}">
                <a16:creationId xmlns:a16="http://schemas.microsoft.com/office/drawing/2014/main" id="{B2E282CF-164F-4E62-3F1B-108F51A2FC67}"/>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6D14DEEE-030B-CDA1-9C8C-64C72FA6B06D}"/>
              </a:ext>
            </a:extLst>
          </p:cNvPr>
          <p:cNvGraphicFramePr>
            <a:graphicFrameLocks/>
          </p:cNvGraphicFramePr>
          <p:nvPr/>
        </p:nvGraphicFramePr>
        <p:xfrm>
          <a:off x="4579258" y="1141495"/>
          <a:ext cx="4057904" cy="1499236"/>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3 Blade Pro Sensitive 1 Handle + 3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3 Blade Ingrown Defense 1 Handle + 3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Hydro 5 Blade Advanced Hydration 1 Handle + 3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Schick Quattro Four Blade 1 Handle + 4 Cartri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B3008F26-18B2-DBA2-15D3-F68DAB5DC49E}"/>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F586A6EE-CAC4-4706-871E-DD34712ABF9F}"/>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9004A6DC-3600-43CD-2C11-F60492297F99}"/>
              </a:ext>
            </a:extLst>
          </p:cNvPr>
          <p:cNvSpPr>
            <a:spLocks noGrp="1"/>
          </p:cNvSpPr>
          <p:nvPr>
            <p:ph type="sldNum" sz="quarter" idx="16"/>
          </p:nvPr>
        </p:nvSpPr>
        <p:spPr/>
        <p:txBody>
          <a:bodyPr/>
          <a:lstStyle/>
          <a:p>
            <a:fld id="{7B1F438D-4EAF-094E-9162-80CF3EF77236}" type="slidenum">
              <a:rPr lang="en-US" smtClean="0"/>
              <a:pPr/>
              <a:t>47</a:t>
            </a:fld>
            <a:endParaRPr lang="en-US"/>
          </a:p>
        </p:txBody>
      </p:sp>
      <p:sp>
        <p:nvSpPr>
          <p:cNvPr id="3" name="TextBox Y">
            <a:extLst>
              <a:ext uri="{FF2B5EF4-FFF2-40B4-BE49-F238E27FC236}">
                <a16:creationId xmlns:a16="http://schemas.microsoft.com/office/drawing/2014/main" id="{7469713C-4580-C79C-65F2-750E7C579F12}"/>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909333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B6C69A-5E33-46D2-95A6-C55A1536292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095A177A-7112-8E62-EA00-752B8D41DDE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AC53810-10D3-15B8-C86F-53363B7D1C5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50EAEB86-A9CF-DB96-080B-3F1E6C86C05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3 Blade Pro Sensitive 1 Handle + 3 Cartridges | Walmart | Assuming no other products are changing prices</a:t>
            </a:r>
          </a:p>
        </p:txBody>
      </p:sp>
      <p:sp>
        <p:nvSpPr>
          <p:cNvPr id="10" name="Title 9">
            <a:extLst>
              <a:ext uri="{FF2B5EF4-FFF2-40B4-BE49-F238E27FC236}">
                <a16:creationId xmlns:a16="http://schemas.microsoft.com/office/drawing/2014/main" id="{29AC4916-8B24-DB66-C786-3BC84B1FE0D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26EA1865-900D-75A6-3CD7-992CE292CE1D}"/>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E5960E2-478B-90C5-06BE-508FD046AB8C}"/>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EDBAF639-C797-B960-42FC-CF5FAE54C314}"/>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B9731A8E-EA30-3D1E-794C-5D9E629DCE5C}"/>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7793605-79E4-7D54-50A8-67E7EEB8B075}"/>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20E2C1D2-A8AC-1AC9-E1FD-74D3A992B433}"/>
              </a:ext>
            </a:extLst>
          </p:cNvPr>
          <p:cNvSpPr>
            <a:spLocks noGrp="1"/>
          </p:cNvSpPr>
          <p:nvPr>
            <p:ph type="sldNum" sz="quarter" idx="16"/>
          </p:nvPr>
        </p:nvSpPr>
        <p:spPr/>
        <p:txBody>
          <a:bodyPr/>
          <a:lstStyle/>
          <a:p>
            <a:fld id="{7B1F438D-4EAF-094E-9162-80CF3EF77236}" type="slidenum">
              <a:rPr lang="en-US" smtClean="0"/>
              <a:pPr/>
              <a:t>48</a:t>
            </a:fld>
            <a:endParaRPr lang="en-US"/>
          </a:p>
        </p:txBody>
      </p:sp>
      <p:sp>
        <p:nvSpPr>
          <p:cNvPr id="22" name="Rectangle 21">
            <a:extLst>
              <a:ext uri="{FF2B5EF4-FFF2-40B4-BE49-F238E27FC236}">
                <a16:creationId xmlns:a16="http://schemas.microsoft.com/office/drawing/2014/main" id="{8DA4F595-499E-E3A4-1201-5EA687FB0B66}"/>
              </a:ext>
            </a:extLst>
          </p:cNvPr>
          <p:cNvSpPr/>
          <p:nvPr/>
        </p:nvSpPr>
        <p:spPr>
          <a:xfrm>
            <a:off x="972000" y="1458000"/>
            <a:ext cx="3560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F1A2341D-5B7A-9215-3FCD-38C58D06EC40}"/>
              </a:ext>
            </a:extLst>
          </p:cNvPr>
          <p:cNvSpPr/>
          <p:nvPr/>
        </p:nvSpPr>
        <p:spPr>
          <a:xfrm>
            <a:off x="4532760" y="1458000"/>
            <a:ext cx="2091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72991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62B5FA-2469-C130-FD8B-5234500C721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B31930F-1A0A-F1AC-EA00-45BC9BEEEF9C}"/>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682BDD1-52A9-C534-5802-96DBD1E72AD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B3449AD-97F8-C285-D9C7-B2CFCE7CA26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8CEA389-6912-CB93-FED3-DFD669B064E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631697CA-A086-DA8B-37EF-CD40F1A9F77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3 Blade Pro Sensitive 1 Handle + 3 Cartridges (0.0%) | Up &amp; Down Pricing | Walmart | Assumes no other are changing prices</a:t>
            </a:r>
          </a:p>
        </p:txBody>
      </p:sp>
      <p:sp>
        <p:nvSpPr>
          <p:cNvPr id="4" name="Title1">
            <a:extLst>
              <a:ext uri="{FF2B5EF4-FFF2-40B4-BE49-F238E27FC236}">
                <a16:creationId xmlns:a16="http://schemas.microsoft.com/office/drawing/2014/main" id="{F1ED1A9F-9393-7F07-40E1-9DCDF8CB60C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D6DF646-0DE3-CE1A-D155-8F12B9521A8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2265A69-23C1-0613-D230-2D78F795C22D}"/>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D475C57F-425D-95E0-FE96-A1184552EDA6}"/>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87F082A-69D3-185F-845C-4000AE3E063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A09FD7D6-7C5A-40F1-890A-D2DAD4FADCAB}"/>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19493951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8D544B-D53E-D51F-4135-DFAEE5F51CF7}"/>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8F9E1E7-B2C5-6643-0BC9-BAAD41092D70}"/>
              </a:ext>
            </a:extLst>
          </p:cNvPr>
          <p:cNvGraphicFramePr>
            <a:graphicFrameLocks noGrp="1"/>
          </p:cNvGraphicFramePr>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996">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996">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996">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996">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996">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996">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1B9F1BE-C3CF-86A8-6AFE-294F46756BF2}"/>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735">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735">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735">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735">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735">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735">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E0F88487-F2AD-1BB5-40BA-91FA8B3FD15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B08F002A-619E-3022-5C96-EB39AD64ABE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9E5DC78D-2955-4D6E-3AC5-7FEB088BCCE6}"/>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Schick (11.2%) | Up &amp; Down Pricing | Walmart | Assumes no other are changing prices</a:t>
            </a:r>
          </a:p>
        </p:txBody>
      </p:sp>
      <p:sp>
        <p:nvSpPr>
          <p:cNvPr id="4" name="Title1">
            <a:extLst>
              <a:ext uri="{FF2B5EF4-FFF2-40B4-BE49-F238E27FC236}">
                <a16:creationId xmlns:a16="http://schemas.microsoft.com/office/drawing/2014/main" id="{859CDCA7-7C43-8970-C730-A512171CC2E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E909A29-9E43-75EA-015E-990E0BE0ADFA}"/>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801C932-0EEB-E4B6-D6F2-A3C6A991E55D}"/>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91FD0822-2F18-7B74-1DC6-F35BC0A6659B}"/>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E976C66B-BB9B-8AF7-75D8-2888BF91480D}"/>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391905636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EB6C01-EA36-CC16-71C6-6213FFD83AE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BF55B42-DA77-7B45-99D7-F0BD80826BA2}"/>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DC037820-ACCF-0EFA-3B49-749A40DE8A4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2701F35-D12D-5581-9014-6CBE7EBADA5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3 Blade Ingrown Defense 1 Handle + 3 Cartridges | Walmart | Assuming no other products are changing prices</a:t>
            </a:r>
          </a:p>
        </p:txBody>
      </p:sp>
      <p:sp>
        <p:nvSpPr>
          <p:cNvPr id="10" name="Title 9">
            <a:extLst>
              <a:ext uri="{FF2B5EF4-FFF2-40B4-BE49-F238E27FC236}">
                <a16:creationId xmlns:a16="http://schemas.microsoft.com/office/drawing/2014/main" id="{20E1C197-612E-FF34-DBFE-58BD9B08D0A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108F4C4B-8767-FA1A-E684-F0589B2640BF}"/>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B2DD6A25-D2EF-238F-8D82-CCBC55151362}"/>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6F404153-3E29-5698-A134-A5F937565C33}"/>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8885D93-0586-4462-FAB2-83C7070C173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9832739-0C6F-B4BD-9E2A-69CFBB5F37AD}"/>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424809DE-B312-203F-DFBE-7FE527A71246}"/>
              </a:ext>
            </a:extLst>
          </p:cNvPr>
          <p:cNvSpPr>
            <a:spLocks noGrp="1"/>
          </p:cNvSpPr>
          <p:nvPr>
            <p:ph type="sldNum" sz="quarter" idx="16"/>
          </p:nvPr>
        </p:nvSpPr>
        <p:spPr/>
        <p:txBody>
          <a:bodyPr/>
          <a:lstStyle/>
          <a:p>
            <a:fld id="{7B1F438D-4EAF-094E-9162-80CF3EF77236}" type="slidenum">
              <a:rPr lang="en-US" smtClean="0"/>
              <a:pPr/>
              <a:t>50</a:t>
            </a:fld>
            <a:endParaRPr lang="en-US"/>
          </a:p>
        </p:txBody>
      </p:sp>
      <p:sp>
        <p:nvSpPr>
          <p:cNvPr id="22" name="Rectangle 21">
            <a:extLst>
              <a:ext uri="{FF2B5EF4-FFF2-40B4-BE49-F238E27FC236}">
                <a16:creationId xmlns:a16="http://schemas.microsoft.com/office/drawing/2014/main" id="{EB2B5877-DBE6-9170-EE58-D87AF1700E40}"/>
              </a:ext>
            </a:extLst>
          </p:cNvPr>
          <p:cNvSpPr/>
          <p:nvPr/>
        </p:nvSpPr>
        <p:spPr>
          <a:xfrm>
            <a:off x="972000" y="1458000"/>
            <a:ext cx="322163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F1485D17-EB3C-27F3-F0A4-D25BBA2EE303}"/>
              </a:ext>
            </a:extLst>
          </p:cNvPr>
          <p:cNvSpPr/>
          <p:nvPr/>
        </p:nvSpPr>
        <p:spPr>
          <a:xfrm>
            <a:off x="4193639" y="1458000"/>
            <a:ext cx="24303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00678134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71A79F-9D65-6E91-368F-8FFDE487443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66A93D2F-FFE7-9E70-EEE5-297D71579471}"/>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64AA881-D013-6FCF-E1EC-8C540DA14905}"/>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2211089-F807-9539-3C60-8331144F9B7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5A82E90-C7FF-BC7D-6D81-52354A60A6E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662E0230-D3DA-4F15-A1BC-1FDA525AF03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3 Blade Ingrown Defense 1 Handle + 3 Cartridges (0.0%) | Up &amp; Down Pricing | Walmart | Assumes no other are changing prices</a:t>
            </a:r>
          </a:p>
        </p:txBody>
      </p:sp>
      <p:sp>
        <p:nvSpPr>
          <p:cNvPr id="4" name="Title1">
            <a:extLst>
              <a:ext uri="{FF2B5EF4-FFF2-40B4-BE49-F238E27FC236}">
                <a16:creationId xmlns:a16="http://schemas.microsoft.com/office/drawing/2014/main" id="{4966B64B-962C-883B-42CD-E873EC1A62E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742A839-F8B0-28BC-0499-11E896920062}"/>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523D1E9-4FFB-25C3-E46A-41F96D5C9BAE}"/>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57FA447-67C4-C8A1-86AB-0EF73CBFDB36}"/>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0E5A7DF-4D5E-F481-B68C-E89742367977}"/>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1DBA538C-B8C2-9C7D-3887-4002265FDCAA}"/>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11326425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9F193A-A961-B2BF-83D7-CB8DCE5C1BC3}"/>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156C0B70-13C3-455D-2F4B-9648CF1E64AD}"/>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747433C3-3B9B-4213-C50B-E15FE43F764D}"/>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C0B25B1F-19E2-F759-FC9A-1CAAB2F0FCB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Advanced Hydration 1 Handle + 3 Cartridges | Walmart | Assuming no other products are changing prices</a:t>
            </a:r>
          </a:p>
        </p:txBody>
      </p:sp>
      <p:sp>
        <p:nvSpPr>
          <p:cNvPr id="10" name="Title 9">
            <a:extLst>
              <a:ext uri="{FF2B5EF4-FFF2-40B4-BE49-F238E27FC236}">
                <a16:creationId xmlns:a16="http://schemas.microsoft.com/office/drawing/2014/main" id="{741905D5-93A6-89DA-46C5-18134B7A270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FBFB25-C276-C402-2114-3612604DC72A}"/>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6F4E308A-C673-33EE-CD6D-A638BA503C01}"/>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2B320D2B-B702-849A-FD8D-D339ADE526FF}"/>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01F355DC-34DF-8009-5EC9-9D3C82E8D810}"/>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54892AD-829D-14A4-4099-1E79B7834E5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BBC61A0B-8F37-47EC-96D3-4007B2CDC066}"/>
              </a:ext>
            </a:extLst>
          </p:cNvPr>
          <p:cNvSpPr>
            <a:spLocks noGrp="1"/>
          </p:cNvSpPr>
          <p:nvPr>
            <p:ph type="sldNum" sz="quarter" idx="16"/>
          </p:nvPr>
        </p:nvSpPr>
        <p:spPr/>
        <p:txBody>
          <a:bodyPr/>
          <a:lstStyle/>
          <a:p>
            <a:fld id="{7B1F438D-4EAF-094E-9162-80CF3EF77236}" type="slidenum">
              <a:rPr lang="en-US" smtClean="0"/>
              <a:pPr/>
              <a:t>52</a:t>
            </a:fld>
            <a:endParaRPr lang="en-US"/>
          </a:p>
        </p:txBody>
      </p:sp>
      <p:sp>
        <p:nvSpPr>
          <p:cNvPr id="22" name="Rectangle 21">
            <a:extLst>
              <a:ext uri="{FF2B5EF4-FFF2-40B4-BE49-F238E27FC236}">
                <a16:creationId xmlns:a16="http://schemas.microsoft.com/office/drawing/2014/main" id="{7957544D-4CBE-ADD8-19A8-E1931A03C10C}"/>
              </a:ext>
            </a:extLst>
          </p:cNvPr>
          <p:cNvSpPr/>
          <p:nvPr/>
        </p:nvSpPr>
        <p:spPr>
          <a:xfrm>
            <a:off x="972000" y="1458000"/>
            <a:ext cx="29955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4B4A706C-8E0E-8912-B325-BF67AEE5822A}"/>
              </a:ext>
            </a:extLst>
          </p:cNvPr>
          <p:cNvSpPr/>
          <p:nvPr/>
        </p:nvSpPr>
        <p:spPr>
          <a:xfrm>
            <a:off x="3967560" y="1458000"/>
            <a:ext cx="2656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19167100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8BB602-EE6E-FECA-92FE-9E7739FB8976}"/>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6A91A38-6BBE-F304-36BB-1EDCACE47385}"/>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A023BAF-144A-65C4-4494-3FB74B38312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CF41211A-98E4-B348-8C39-58DEA6F19BB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41677BF-945F-E94E-7D6B-E68A12303F7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443CB361-60BC-A4E2-8A89-04E7EB3C597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Advanced Hydration 1 Handle + 3 Cartridges (0.0%) | Up &amp; Down Pricing | Walmart | Assumes no other are changing prices</a:t>
            </a:r>
          </a:p>
        </p:txBody>
      </p:sp>
      <p:sp>
        <p:nvSpPr>
          <p:cNvPr id="4" name="Title1">
            <a:extLst>
              <a:ext uri="{FF2B5EF4-FFF2-40B4-BE49-F238E27FC236}">
                <a16:creationId xmlns:a16="http://schemas.microsoft.com/office/drawing/2014/main" id="{3A1C4445-C38F-0176-0EFC-FEA85C08E22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A00EDB7-B1BF-9CE6-A23A-4F9202F6BAB0}"/>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81D15B4-36EB-FEF2-1F11-AAFEAA14FE37}"/>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16D6E700-7B51-D6FA-8A1C-0DD49846EC38}"/>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646082E-51C0-7C87-B9C2-6053ECD52EF9}"/>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DE3B8E13-7B88-FE3B-ADEC-BA39736AF22A}"/>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216612047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A9F1AF-6700-C740-F306-7C75DC38E0B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68F227D-3396-6D10-0327-B9BC4539E214}"/>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0F26E53-6D9C-81BF-918F-E5D0EDEC96F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50DC1CDD-6432-C57A-A6B6-2E2ED4E3BDF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Quattro Four Blade 1 Handle + 4 Cartriges | Walmart | Assuming no other products are changing prices</a:t>
            </a:r>
          </a:p>
        </p:txBody>
      </p:sp>
      <p:sp>
        <p:nvSpPr>
          <p:cNvPr id="10" name="Title 9">
            <a:extLst>
              <a:ext uri="{FF2B5EF4-FFF2-40B4-BE49-F238E27FC236}">
                <a16:creationId xmlns:a16="http://schemas.microsoft.com/office/drawing/2014/main" id="{8EA3CFF0-F5DC-8ED4-E525-51322EC6B67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0428610A-8BC0-A2E7-6312-21566E6352BF}"/>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BD39DC92-1063-1CB6-9B78-FA57A0BD7092}"/>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433B3E1C-9FCD-9AF5-4FD9-586A0DA47C8B}"/>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AF37F7C2-ABCD-E010-0B7C-97BCD8F10283}"/>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8D71DEF-5F08-F74F-0E5E-9587BCE392C8}"/>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8FDF4018-0AC3-CAB0-D8D2-CF1EDEF2F021}"/>
              </a:ext>
            </a:extLst>
          </p:cNvPr>
          <p:cNvSpPr>
            <a:spLocks noGrp="1"/>
          </p:cNvSpPr>
          <p:nvPr>
            <p:ph type="sldNum" sz="quarter" idx="16"/>
          </p:nvPr>
        </p:nvSpPr>
        <p:spPr/>
        <p:txBody>
          <a:bodyPr/>
          <a:lstStyle/>
          <a:p>
            <a:fld id="{7B1F438D-4EAF-094E-9162-80CF3EF77236}" type="slidenum">
              <a:rPr lang="en-US" smtClean="0"/>
              <a:pPr/>
              <a:t>54</a:t>
            </a:fld>
            <a:endParaRPr lang="en-US"/>
          </a:p>
        </p:txBody>
      </p:sp>
      <p:sp>
        <p:nvSpPr>
          <p:cNvPr id="22" name="Rectangle 21">
            <a:extLst>
              <a:ext uri="{FF2B5EF4-FFF2-40B4-BE49-F238E27FC236}">
                <a16:creationId xmlns:a16="http://schemas.microsoft.com/office/drawing/2014/main" id="{F49BC595-621A-CB3D-3C8A-8D6E5E5E99C7}"/>
              </a:ext>
            </a:extLst>
          </p:cNvPr>
          <p:cNvSpPr/>
          <p:nvPr/>
        </p:nvSpPr>
        <p:spPr>
          <a:xfrm>
            <a:off x="972000" y="1458000"/>
            <a:ext cx="3560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57E66BDD-DC7E-C13A-6459-97AA6886B4A0}"/>
              </a:ext>
            </a:extLst>
          </p:cNvPr>
          <p:cNvSpPr/>
          <p:nvPr/>
        </p:nvSpPr>
        <p:spPr>
          <a:xfrm>
            <a:off x="4532760" y="1458000"/>
            <a:ext cx="2091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2547798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527AC-73E5-CBCB-03DD-88599327024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CF9C846-45A0-5813-8967-9802CD4C1A3F}"/>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D9EA2BFC-6466-BD29-0372-8DEE030E64EC}"/>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C73E781-7863-9B28-F59C-205EB06A7B1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99E2BD0-F3D5-388E-D413-BA61A33FE96D}"/>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6F8563BD-C92D-E11B-3088-BC524E911BF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Quattro Four Blade 1 Handle + 4 Cartriges (0.0%) | Up &amp; Down Pricing | Walmart | Assumes no other are changing prices</a:t>
            </a:r>
          </a:p>
        </p:txBody>
      </p:sp>
      <p:sp>
        <p:nvSpPr>
          <p:cNvPr id="4" name="Title1">
            <a:extLst>
              <a:ext uri="{FF2B5EF4-FFF2-40B4-BE49-F238E27FC236}">
                <a16:creationId xmlns:a16="http://schemas.microsoft.com/office/drawing/2014/main" id="{47991CD9-CE92-29C1-36BB-34648AB978F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25F5FC9-44F7-9BC9-1D9B-F4A184E9209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52556A9-622B-B09E-4BC9-9E0E8B774A32}"/>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000F8113-3BBC-497D-9C4C-BE938951C71A}"/>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CB6A703-6FF1-91E0-2DA3-463CCAFC15AB}"/>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65C5666B-0476-45C1-4231-0DF2DF160C62}"/>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34599020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149441-E218-AF81-E27B-3B52CBFB8FA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8337DEF-65D2-9C86-B557-3B49FB3E1E6D}"/>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65339CC0-A4EF-BEEA-4001-0A3FA52EB91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C2C0B98F-CD74-93B0-D16C-103482B325DD}"/>
              </a:ext>
            </a:extLst>
          </p:cNvPr>
          <p:cNvSpPr>
            <a:spLocks noGrp="1"/>
          </p:cNvSpPr>
          <p:nvPr>
            <p:ph type="body" sz="quarter" idx="18"/>
          </p:nvPr>
        </p:nvSpPr>
        <p:spPr>
          <a:xfrm>
            <a:off x="503238" y="774000"/>
            <a:ext cx="8136762" cy="360000"/>
          </a:xfrm>
        </p:spPr>
        <p:txBody>
          <a:bodyPr/>
          <a:lstStyle/>
          <a:p>
            <a:pPr>
              <a:defRPr sz="1200">
                <a:latin typeface="Nexa Bold (Headings)"/>
              </a:defRPr>
            </a:pPr>
            <a:r>
              <a:t>Razor Innovation (2) | Price Elasticity | Walmart | Assumes no other products are changing prices</a:t>
            </a:r>
          </a:p>
        </p:txBody>
      </p:sp>
      <p:sp>
        <p:nvSpPr>
          <p:cNvPr id="18" name="Title 17">
            <a:extLst>
              <a:ext uri="{FF2B5EF4-FFF2-40B4-BE49-F238E27FC236}">
                <a16:creationId xmlns:a16="http://schemas.microsoft.com/office/drawing/2014/main" id="{58EF6561-1769-3261-D915-059148B3D347}"/>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E3FD3B4-4AB9-ACF1-BA0A-10B3519755AD}"/>
              </a:ext>
            </a:extLst>
          </p:cNvPr>
          <p:cNvGraphicFramePr>
            <a:graphicFrameLocks/>
          </p:cNvGraphicFramePr>
          <p:nvPr/>
        </p:nvGraphicFramePr>
        <p:xfrm>
          <a:off x="4579258" y="1141495"/>
          <a:ext cx="4057904" cy="1872140"/>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5 Blade Sensitive 1 Handle + 5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5 Blade Sensitive 1 Handle + 8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Hydro 5 Blade Chrome 1 Handle + 3 Cartridges + Docking Station/Stand + Travel Cover</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Schick Hydro 5 Groomer 1 Handle + 1 Cartridg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Wilkinson Sword Classic Double Edge 1 Handle + 5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7AF477BB-3C79-836E-561F-ED5554B903E9}"/>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383A3499-9964-38C5-30C2-97ACE1C57C0A}"/>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7AAAA21C-553A-B2C2-D5B7-384DAC5A9568}"/>
              </a:ext>
            </a:extLst>
          </p:cNvPr>
          <p:cNvSpPr>
            <a:spLocks noGrp="1"/>
          </p:cNvSpPr>
          <p:nvPr>
            <p:ph type="sldNum" sz="quarter" idx="16"/>
          </p:nvPr>
        </p:nvSpPr>
        <p:spPr/>
        <p:txBody>
          <a:bodyPr/>
          <a:lstStyle/>
          <a:p>
            <a:fld id="{7B1F438D-4EAF-094E-9162-80CF3EF77236}" type="slidenum">
              <a:rPr lang="en-US" smtClean="0"/>
              <a:pPr/>
              <a:t>56</a:t>
            </a:fld>
            <a:endParaRPr lang="en-US"/>
          </a:p>
        </p:txBody>
      </p:sp>
      <p:sp>
        <p:nvSpPr>
          <p:cNvPr id="3" name="TextBox Y">
            <a:extLst>
              <a:ext uri="{FF2B5EF4-FFF2-40B4-BE49-F238E27FC236}">
                <a16:creationId xmlns:a16="http://schemas.microsoft.com/office/drawing/2014/main" id="{CFFFBB7C-738D-FE35-0E5F-83267D64DF0F}"/>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97499931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B37555-FEFB-259A-778E-683A60758A0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4C350D0-C981-0583-5DE6-4C696C2F91F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B974E6E5-70A1-0A70-163A-78C9FCBCC90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C712E4EE-7B57-7925-60CB-6CD34AD2CA2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Sensitive 1 Handle + 5 Cartridges | Walmart | Assuming no other products are changing prices</a:t>
            </a:r>
          </a:p>
        </p:txBody>
      </p:sp>
      <p:sp>
        <p:nvSpPr>
          <p:cNvPr id="10" name="Title 9">
            <a:extLst>
              <a:ext uri="{FF2B5EF4-FFF2-40B4-BE49-F238E27FC236}">
                <a16:creationId xmlns:a16="http://schemas.microsoft.com/office/drawing/2014/main" id="{1CDFF6A1-D966-F801-DE66-1864C0750BC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6A6BF200-1212-5872-8E8B-286D3B4EB489}"/>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A81F3DEF-25FA-F802-181C-7D714E7F7B0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488426E7-43D1-98D4-F01E-3A37D718DED4}"/>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A236427D-D54B-DD7A-3228-DE098E94483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8B71FFA-DB6B-0691-DA97-1AB582053EE5}"/>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72D446CB-CF68-51D2-6AF0-372C9990AA3A}"/>
              </a:ext>
            </a:extLst>
          </p:cNvPr>
          <p:cNvSpPr>
            <a:spLocks noGrp="1"/>
          </p:cNvSpPr>
          <p:nvPr>
            <p:ph type="sldNum" sz="quarter" idx="16"/>
          </p:nvPr>
        </p:nvSpPr>
        <p:spPr/>
        <p:txBody>
          <a:bodyPr/>
          <a:lstStyle/>
          <a:p>
            <a:fld id="{7B1F438D-4EAF-094E-9162-80CF3EF77236}" type="slidenum">
              <a:rPr lang="en-US" smtClean="0"/>
              <a:pPr/>
              <a:t>57</a:t>
            </a:fld>
            <a:endParaRPr lang="en-US"/>
          </a:p>
        </p:txBody>
      </p:sp>
      <p:sp>
        <p:nvSpPr>
          <p:cNvPr id="22" name="Rectangle 21">
            <a:extLst>
              <a:ext uri="{FF2B5EF4-FFF2-40B4-BE49-F238E27FC236}">
                <a16:creationId xmlns:a16="http://schemas.microsoft.com/office/drawing/2014/main" id="{19F82C17-06CF-F1D8-D1A0-BC17CD4AFC5B}"/>
              </a:ext>
            </a:extLst>
          </p:cNvPr>
          <p:cNvSpPr/>
          <p:nvPr/>
        </p:nvSpPr>
        <p:spPr>
          <a:xfrm>
            <a:off x="97200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282EAB22-7AD4-6139-0D4C-794A301D7EFF}"/>
              </a:ext>
            </a:extLst>
          </p:cNvPr>
          <p:cNvSpPr/>
          <p:nvPr/>
        </p:nvSpPr>
        <p:spPr>
          <a:xfrm>
            <a:off x="153720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FF7D4E65-B523-85B5-D758-914DB5A21903}"/>
              </a:ext>
            </a:extLst>
          </p:cNvPr>
          <p:cNvSpPr/>
          <p:nvPr/>
        </p:nvSpPr>
        <p:spPr>
          <a:xfrm>
            <a:off x="1932840" y="1458000"/>
            <a:ext cx="1299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ABD70313-591E-7E25-AAFA-65AD5161AE8B}"/>
              </a:ext>
            </a:extLst>
          </p:cNvPr>
          <p:cNvSpPr/>
          <p:nvPr/>
        </p:nvSpPr>
        <p:spPr>
          <a:xfrm>
            <a:off x="3232800" y="1458000"/>
            <a:ext cx="3391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7897468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4BE210-5F6A-11F4-D4B8-614A930EB898}"/>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F07E55C-914F-BFB8-78E3-C7C894BAFBAF}"/>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FEC1F5D-7995-9509-9616-F7F6C9DA80E7}"/>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443E0C9-2477-EECB-9448-11E1A88FE91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C43943C-83B8-DD00-9C97-A01B1442935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47002D78-6D83-1632-C2F0-4EA15700A3B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Sensitive 1 Handle + 5 Cartridges (0.0%) | Up &amp; Down Pricing | Walmart | Assumes no other are changing prices</a:t>
            </a:r>
          </a:p>
        </p:txBody>
      </p:sp>
      <p:sp>
        <p:nvSpPr>
          <p:cNvPr id="4" name="Title1">
            <a:extLst>
              <a:ext uri="{FF2B5EF4-FFF2-40B4-BE49-F238E27FC236}">
                <a16:creationId xmlns:a16="http://schemas.microsoft.com/office/drawing/2014/main" id="{08F1D5CE-2FA1-4190-60FE-BA8940E6DA6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52921107-9096-0DB4-022E-6C716175C89F}"/>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968DA1E-5A98-88F2-B5F6-8352E3CACB3B}"/>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1D1C0806-B280-2E0D-0A67-16424ED722D3}"/>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937AD48-5CA6-0E1C-2F2F-9ED417454DEC}"/>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D4D90D1E-4C0E-AE88-9C7F-5D0852B1196D}"/>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40758482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1E6ADF-F03A-82C6-5410-4A3641162FF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21D143A-203F-9AA0-3277-5E45B69B843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F5711D-C714-F07D-EBDB-59F33195B1F1}"/>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0EDEF45-6E46-A66A-6D3F-ED3C5A90D72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Sensitive 1 Handle + 8 Cartridges | Walmart | Assuming no other products are changing prices</a:t>
            </a:r>
          </a:p>
        </p:txBody>
      </p:sp>
      <p:sp>
        <p:nvSpPr>
          <p:cNvPr id="10" name="Title 9">
            <a:extLst>
              <a:ext uri="{FF2B5EF4-FFF2-40B4-BE49-F238E27FC236}">
                <a16:creationId xmlns:a16="http://schemas.microsoft.com/office/drawing/2014/main" id="{2A19C1AA-314C-B845-1C44-FABEED09611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ADE62D40-D5BE-17F4-69A7-296DB00B009F}"/>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E6416B3-2A98-6C29-200D-AA44797E320B}"/>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5BDC5EE0-59DD-B7A5-21AB-CE423C13FA0C}"/>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1B066640-08FF-8807-94F1-3F47ED9AD85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BCBADBF-DA29-9AC1-4586-876F1341D89E}"/>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B1931EAB-82EF-CB9D-243F-65070B31B528}"/>
              </a:ext>
            </a:extLst>
          </p:cNvPr>
          <p:cNvSpPr>
            <a:spLocks noGrp="1"/>
          </p:cNvSpPr>
          <p:nvPr>
            <p:ph type="sldNum" sz="quarter" idx="16"/>
          </p:nvPr>
        </p:nvSpPr>
        <p:spPr/>
        <p:txBody>
          <a:bodyPr/>
          <a:lstStyle/>
          <a:p>
            <a:fld id="{7B1F438D-4EAF-094E-9162-80CF3EF77236}" type="slidenum">
              <a:rPr lang="en-US" smtClean="0"/>
              <a:pPr/>
              <a:t>59</a:t>
            </a:fld>
            <a:endParaRPr lang="en-US"/>
          </a:p>
        </p:txBody>
      </p:sp>
      <p:sp>
        <p:nvSpPr>
          <p:cNvPr id="22" name="Rectangle 21">
            <a:extLst>
              <a:ext uri="{FF2B5EF4-FFF2-40B4-BE49-F238E27FC236}">
                <a16:creationId xmlns:a16="http://schemas.microsoft.com/office/drawing/2014/main" id="{D880CA70-88B6-9E60-B7DE-49670561F4A1}"/>
              </a:ext>
            </a:extLst>
          </p:cNvPr>
          <p:cNvSpPr/>
          <p:nvPr/>
        </p:nvSpPr>
        <p:spPr>
          <a:xfrm>
            <a:off x="972000" y="1458000"/>
            <a:ext cx="2147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FBE75176-9BCD-00E3-51E0-39B215A8DBA5}"/>
              </a:ext>
            </a:extLst>
          </p:cNvPr>
          <p:cNvSpPr/>
          <p:nvPr/>
        </p:nvSpPr>
        <p:spPr>
          <a:xfrm>
            <a:off x="3119760" y="1458000"/>
            <a:ext cx="3504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5874828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8B5EAE-7E23-BA36-F7C9-4CDA487014B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D4F8886F-6479-0087-D164-8C1104E642B3}"/>
              </a:ext>
            </a:extLst>
          </p:cNvPr>
          <p:cNvGraphicFramePr>
            <a:graphicFrameLocks noGrp="1"/>
          </p:cNvGraphicFramePr>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996">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996">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996">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996">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996">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996">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DFC9DCB0-2299-2EAA-844C-2CF73C805AE8}"/>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735">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735">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735">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735">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735">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735">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E8986A39-FABA-5644-4F4F-DA2742D6EE3D}"/>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7B07582-2BBE-DF90-E50C-39C782AC4C61}"/>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1D1DD934-CC0C-C8B2-9959-6E4A49EEE557}"/>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Equate (21.7%) | Up &amp; Down Pricing | Walmart | Assumes no other are changing prices</a:t>
            </a:r>
          </a:p>
        </p:txBody>
      </p:sp>
      <p:sp>
        <p:nvSpPr>
          <p:cNvPr id="4" name="Title1">
            <a:extLst>
              <a:ext uri="{FF2B5EF4-FFF2-40B4-BE49-F238E27FC236}">
                <a16:creationId xmlns:a16="http://schemas.microsoft.com/office/drawing/2014/main" id="{37549AE3-82E6-1E68-978F-9646F90DCF6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A0F5E79-0F2D-E429-C595-0A5BCCC9A863}"/>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82EA0809-C92E-5E90-D240-6C1AA39B8C61}"/>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FF8BA7D0-F759-9FAD-17BA-E28BA245AE4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294533EA-469B-02C8-FB78-D8BA899E71B3}"/>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83071351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3F380A-1885-6A1B-0BB1-19EFBE34164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4C0839D9-4016-7ED0-8A5B-48BAB7CAAA94}"/>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1 Handle + 3 Cartridges Holiday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6 Cartridges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234487A-9A37-3801-0D12-F07D8FF7AAF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Mach 3 1 Handle + 6 Cartridges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Gillette Fusion 5 1 Handle + 3 Cartridges Holiday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ABDDDBB-892E-11A7-7E6B-4AABF65F76E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0BD9A71-BDF3-FCBB-FB4D-5BE8FDCE0E2D}"/>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BDFD06BC-2613-D509-73C8-7AA19C54ED7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Sensitive 1 Handle + 8 Cartridges (0.0%) | Up &amp; Down Pricing | Walmart | Assumes no other are changing prices</a:t>
            </a:r>
          </a:p>
        </p:txBody>
      </p:sp>
      <p:sp>
        <p:nvSpPr>
          <p:cNvPr id="4" name="Title1">
            <a:extLst>
              <a:ext uri="{FF2B5EF4-FFF2-40B4-BE49-F238E27FC236}">
                <a16:creationId xmlns:a16="http://schemas.microsoft.com/office/drawing/2014/main" id="{AFC07BD7-8CD8-7698-CC63-A9FA77AE0BA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CE904AC-A03E-72B3-803B-AC323BE4C42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0D341F3-5867-0475-8CD4-8F963AB3DA8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46961FC-F92E-9EF2-EC96-F7377B4FC4FE}"/>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9905086-B6E4-E42E-25BD-CAC8914446FE}"/>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D243A46B-63CE-3DB9-D3FA-00743B9E3759}"/>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108125313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DF22B-F585-B5E0-0367-B14E736E0EA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329C619-7395-F3C0-950C-B9C64C670805}"/>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A06B957-8954-1E56-F065-DFC9F1C2927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6AFD4DFA-7FB6-7A61-C332-BB703A888D4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Chrome 1 Handle + 3 Cartridges + Docking Station/Stand + Travel Cover | Walmart | Assuming no other products are changing prices</a:t>
            </a:r>
          </a:p>
        </p:txBody>
      </p:sp>
      <p:sp>
        <p:nvSpPr>
          <p:cNvPr id="10" name="Title 9">
            <a:extLst>
              <a:ext uri="{FF2B5EF4-FFF2-40B4-BE49-F238E27FC236}">
                <a16:creationId xmlns:a16="http://schemas.microsoft.com/office/drawing/2014/main" id="{63B993AD-70BA-1A42-9DFF-79AAD4DB911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35E61B84-889C-D8E9-8846-862784707ECA}"/>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D12C608A-6958-C7B2-B723-6D765E19B88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D0F335D-972B-149F-D51A-F01AA24E690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B3745B4D-1372-E0D6-F950-927B4DF5741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9C37A6C-0782-D556-C18A-3E488A5E4A3E}"/>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A01AC714-AF39-3B4E-ED3C-6D5BCBA08611}"/>
              </a:ext>
            </a:extLst>
          </p:cNvPr>
          <p:cNvSpPr>
            <a:spLocks noGrp="1"/>
          </p:cNvSpPr>
          <p:nvPr>
            <p:ph type="sldNum" sz="quarter" idx="16"/>
          </p:nvPr>
        </p:nvSpPr>
        <p:spPr/>
        <p:txBody>
          <a:bodyPr/>
          <a:lstStyle/>
          <a:p>
            <a:fld id="{7B1F438D-4EAF-094E-9162-80CF3EF77236}" type="slidenum">
              <a:rPr lang="en-US" smtClean="0"/>
              <a:pPr/>
              <a:t>61</a:t>
            </a:fld>
            <a:endParaRPr lang="en-US"/>
          </a:p>
        </p:txBody>
      </p:sp>
      <p:sp>
        <p:nvSpPr>
          <p:cNvPr id="22" name="Rectangle 21">
            <a:extLst>
              <a:ext uri="{FF2B5EF4-FFF2-40B4-BE49-F238E27FC236}">
                <a16:creationId xmlns:a16="http://schemas.microsoft.com/office/drawing/2014/main" id="{DC4102AB-8DB9-8BC9-F294-9D37A491A9D6}"/>
              </a:ext>
            </a:extLst>
          </p:cNvPr>
          <p:cNvSpPr/>
          <p:nvPr/>
        </p:nvSpPr>
        <p:spPr>
          <a:xfrm>
            <a:off x="972000" y="1458000"/>
            <a:ext cx="2147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3C9CC218-B10E-12FC-8318-57C45D57118B}"/>
              </a:ext>
            </a:extLst>
          </p:cNvPr>
          <p:cNvSpPr/>
          <p:nvPr/>
        </p:nvSpPr>
        <p:spPr>
          <a:xfrm>
            <a:off x="3119760" y="1458000"/>
            <a:ext cx="3504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38477054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686BBC-3D3F-62DE-3F5A-279AF5F86B56}"/>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1764E4F6-80C7-25EB-D3D2-B5D5563673F1}"/>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9.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6 Cartridges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1 Handle + 3 Cartridges Holiday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AC8B767-3DD5-0FD9-E443-C2CCE128B2D9}"/>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Mach 3 1 Handle + 6 Cartridges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Gillette Fusion 5 1 Handle + 3 Cartridges Holiday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Mach 3 Blade Refills 4 Pack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C1D176BB-9F4E-42FD-AA2D-B47EAC5C647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338DA82-BA07-1739-5C63-77D561B37461}"/>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21D26B5E-BBB9-60D4-EACE-3B1972A9F41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Chrome 1 Handle + 3 Cartridges + Docking Station/Stand + Travel Cover (0.0%) | Up &amp; Down Pricing | Walmart | Assumes no other are changing prices</a:t>
            </a:r>
          </a:p>
        </p:txBody>
      </p:sp>
      <p:sp>
        <p:nvSpPr>
          <p:cNvPr id="4" name="Title1">
            <a:extLst>
              <a:ext uri="{FF2B5EF4-FFF2-40B4-BE49-F238E27FC236}">
                <a16:creationId xmlns:a16="http://schemas.microsoft.com/office/drawing/2014/main" id="{DFE136F9-9979-DAFC-39DF-723B99E618E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18C1502-1BDE-F790-72B2-8F4979BFF9C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A52069A-872E-3EA2-C84F-512D4114B6B4}"/>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7FF8C5A-5BD7-DC38-66FB-5F98AA5635EA}"/>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436AA29-713B-617D-2F07-808A6E24C961}"/>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035C051C-D10E-77A7-F12A-4D652D97FAA5}"/>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189406264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C1A12D-6E83-2828-BFE8-3BFBAB2B0DD8}"/>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1C1A6A0-61C0-F52A-D88D-86B5479A5A8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155C10C6-DF20-E972-3639-86A5A082739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34C1CF1F-ECF4-63D0-4941-E814B9EB680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Groomer 1 Handle + 1 Cartridge | Walmart | Assuming no other products are changing prices</a:t>
            </a:r>
          </a:p>
        </p:txBody>
      </p:sp>
      <p:sp>
        <p:nvSpPr>
          <p:cNvPr id="10" name="Title 9">
            <a:extLst>
              <a:ext uri="{FF2B5EF4-FFF2-40B4-BE49-F238E27FC236}">
                <a16:creationId xmlns:a16="http://schemas.microsoft.com/office/drawing/2014/main" id="{34DD2E58-2437-B9D8-AA04-20C256C17B7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97ADA759-80EF-2AD7-CD2E-78779A82EEF7}"/>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EFE5365C-19ED-8063-7376-918E7732193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6B06A53C-802C-BC78-C132-4263CC72C68A}"/>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FFEA398A-B3EF-5275-F35D-C3DF7980D4E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4A55656-34F1-D738-160D-BBD6AC64DE16}"/>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73D1C9F-C09A-663C-ACA6-1D214B06E38C}"/>
              </a:ext>
            </a:extLst>
          </p:cNvPr>
          <p:cNvSpPr>
            <a:spLocks noGrp="1"/>
          </p:cNvSpPr>
          <p:nvPr>
            <p:ph type="sldNum" sz="quarter" idx="16"/>
          </p:nvPr>
        </p:nvSpPr>
        <p:spPr/>
        <p:txBody>
          <a:bodyPr/>
          <a:lstStyle/>
          <a:p>
            <a:fld id="{7B1F438D-4EAF-094E-9162-80CF3EF77236}" type="slidenum">
              <a:rPr lang="en-US" smtClean="0"/>
              <a:pPr/>
              <a:t>63</a:t>
            </a:fld>
            <a:endParaRPr lang="en-US"/>
          </a:p>
        </p:txBody>
      </p:sp>
      <p:sp>
        <p:nvSpPr>
          <p:cNvPr id="22" name="Rectangle 21">
            <a:extLst>
              <a:ext uri="{FF2B5EF4-FFF2-40B4-BE49-F238E27FC236}">
                <a16:creationId xmlns:a16="http://schemas.microsoft.com/office/drawing/2014/main" id="{524F3D6B-E701-C072-2143-448D426BDB25}"/>
              </a:ext>
            </a:extLst>
          </p:cNvPr>
          <p:cNvSpPr/>
          <p:nvPr/>
        </p:nvSpPr>
        <p:spPr>
          <a:xfrm>
            <a:off x="972000" y="1458000"/>
            <a:ext cx="960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F8F6C074-E6CF-2003-6087-55FE2CF96ED9}"/>
              </a:ext>
            </a:extLst>
          </p:cNvPr>
          <p:cNvSpPr/>
          <p:nvPr/>
        </p:nvSpPr>
        <p:spPr>
          <a:xfrm>
            <a:off x="1932840" y="1458000"/>
            <a:ext cx="1299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B3B82313-8A62-42EE-DF7A-0B2D46BC5FEB}"/>
              </a:ext>
            </a:extLst>
          </p:cNvPr>
          <p:cNvSpPr/>
          <p:nvPr/>
        </p:nvSpPr>
        <p:spPr>
          <a:xfrm>
            <a:off x="3232800" y="1458000"/>
            <a:ext cx="3391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72879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4A62CA-A623-3F43-AAD9-F19D5A9F320B}"/>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CA3CD8F6-F10E-3977-02E4-4FA0438C7FA0}"/>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04F7DDF-704C-9BF2-66EA-519E1B7129DF}"/>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rry's 5 Blade 1 Handle + 5 Cartridges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EAAAF1E5-71D6-2CCD-04E0-EE81BE728F1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0CAEEBA-128F-B9DC-2DD4-4ED4D05035A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54E983BD-8A3A-A9FB-0442-6FEB8A3227E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Groomer 1 Handle + 1 Cartridge (0.0%) | Up &amp; Down Pricing | Walmart | Assumes no other are changing prices</a:t>
            </a:r>
          </a:p>
        </p:txBody>
      </p:sp>
      <p:sp>
        <p:nvSpPr>
          <p:cNvPr id="4" name="Title1">
            <a:extLst>
              <a:ext uri="{FF2B5EF4-FFF2-40B4-BE49-F238E27FC236}">
                <a16:creationId xmlns:a16="http://schemas.microsoft.com/office/drawing/2014/main" id="{9F2B4326-E74F-34B3-13F5-36F610FB73B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247307D-A15E-6CF1-134B-372CCCBA630D}"/>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4CD0748-D730-1705-FAC1-5BB6410C0A46}"/>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B2137F4-9F66-9E46-1960-F01BA8A0C7BC}"/>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F97EA55-A517-2A12-0399-C3A95C75B391}"/>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D83057FA-DFA8-5CAA-4D5D-756C43BDF136}"/>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61043464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30DEC7-F4FF-CAD8-6467-CAF0A36296D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671D4D1-CBBC-5DAB-B39B-0BE8DB7D5895}"/>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03E6993-B25D-4C61-068B-D67ABAFF826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4E9D39E8-CD39-44C5-CC3A-B7CCBE26E0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Wilkinson Sword Classic Double Edge 1 Handle + 5 Cartridges | Walmart | Assuming no other products are changing prices</a:t>
            </a:r>
          </a:p>
        </p:txBody>
      </p:sp>
      <p:sp>
        <p:nvSpPr>
          <p:cNvPr id="10" name="Title 9">
            <a:extLst>
              <a:ext uri="{FF2B5EF4-FFF2-40B4-BE49-F238E27FC236}">
                <a16:creationId xmlns:a16="http://schemas.microsoft.com/office/drawing/2014/main" id="{4E31A843-722D-1B9F-AF65-97C3F76A1D6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7A2140A2-2660-B181-F904-50A8D1825C01}"/>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4DAD8742-AFEA-D7ED-B5A8-9C089E933D9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6ABBC787-8139-B54C-6D67-F7FA70CBBD5F}"/>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2A11E677-DBC6-8207-A4BA-379C046AA72D}"/>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6680A5E-3247-3532-194A-8A721AC1A06F}"/>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1632CB6-4192-DD60-3F7C-6A12D95A0A9E}"/>
              </a:ext>
            </a:extLst>
          </p:cNvPr>
          <p:cNvSpPr>
            <a:spLocks noGrp="1"/>
          </p:cNvSpPr>
          <p:nvPr>
            <p:ph type="sldNum" sz="quarter" idx="16"/>
          </p:nvPr>
        </p:nvSpPr>
        <p:spPr/>
        <p:txBody>
          <a:bodyPr/>
          <a:lstStyle/>
          <a:p>
            <a:fld id="{7B1F438D-4EAF-094E-9162-80CF3EF77236}" type="slidenum">
              <a:rPr lang="en-US" smtClean="0"/>
              <a:pPr/>
              <a:t>65</a:t>
            </a:fld>
            <a:endParaRPr lang="en-US"/>
          </a:p>
        </p:txBody>
      </p:sp>
      <p:sp>
        <p:nvSpPr>
          <p:cNvPr id="22" name="Rectangle 21">
            <a:extLst>
              <a:ext uri="{FF2B5EF4-FFF2-40B4-BE49-F238E27FC236}">
                <a16:creationId xmlns:a16="http://schemas.microsoft.com/office/drawing/2014/main" id="{E9A25879-8322-A52B-D23B-FA7CB71A560D}"/>
              </a:ext>
            </a:extLst>
          </p:cNvPr>
          <p:cNvSpPr/>
          <p:nvPr/>
        </p:nvSpPr>
        <p:spPr>
          <a:xfrm>
            <a:off x="972000" y="1458000"/>
            <a:ext cx="169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1FC3FDAA-FA26-03A9-42E1-07F6757892C3}"/>
              </a:ext>
            </a:extLst>
          </p:cNvPr>
          <p:cNvSpPr/>
          <p:nvPr/>
        </p:nvSpPr>
        <p:spPr>
          <a:xfrm>
            <a:off x="114156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E3A5AB89-7DB3-4A7A-3F75-7DD2A6F48C4A}"/>
              </a:ext>
            </a:extLst>
          </p:cNvPr>
          <p:cNvSpPr/>
          <p:nvPr/>
        </p:nvSpPr>
        <p:spPr>
          <a:xfrm>
            <a:off x="1932840" y="1458000"/>
            <a:ext cx="1299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A9725A2E-DF80-643C-6D96-0132D987011C}"/>
              </a:ext>
            </a:extLst>
          </p:cNvPr>
          <p:cNvSpPr/>
          <p:nvPr/>
        </p:nvSpPr>
        <p:spPr>
          <a:xfrm>
            <a:off x="3232800" y="1458000"/>
            <a:ext cx="1130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a:extLst>
              <a:ext uri="{FF2B5EF4-FFF2-40B4-BE49-F238E27FC236}">
                <a16:creationId xmlns:a16="http://schemas.microsoft.com/office/drawing/2014/main" id="{67CBCA45-137D-20CF-CF43-B6CE12243976}"/>
              </a:ext>
            </a:extLst>
          </p:cNvPr>
          <p:cNvSpPr/>
          <p:nvPr/>
        </p:nvSpPr>
        <p:spPr>
          <a:xfrm>
            <a:off x="4363200" y="1458000"/>
            <a:ext cx="2260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8759729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13714C-F5CC-B716-DFF1-AE369AE053E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A518A83-24F5-7FD2-AB94-DE91AE8D8ADE}"/>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8.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26838AC-74AA-20BE-1112-03C7DEBB97B1}"/>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rry's 5 Blade 1 Handle + 5 Cartridges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rry's Men Five Blade Refills 4 Pack (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A9AEB1C-25FD-F01E-058B-0F2254C8D2A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22C17C4-9C19-EE4B-94AA-18EF337AF08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1FEEE14C-F584-1242-588C-A678A074680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Wilkinson Sword Classic Double Edge 1 Handle + 5 Cartridges (0.0%) | Up &amp; Down Pricing | Walmart | Assumes no other are changing prices</a:t>
            </a:r>
          </a:p>
        </p:txBody>
      </p:sp>
      <p:sp>
        <p:nvSpPr>
          <p:cNvPr id="4" name="Title1">
            <a:extLst>
              <a:ext uri="{FF2B5EF4-FFF2-40B4-BE49-F238E27FC236}">
                <a16:creationId xmlns:a16="http://schemas.microsoft.com/office/drawing/2014/main" id="{C6BE9C6B-5C7A-0E55-3C82-EE64268D7E6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C97B070-0C17-62FE-C388-2A518BDC2B49}"/>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8C292CC1-D456-C9EF-309B-34684F59792D}"/>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C3553BE9-7B29-5439-3412-71FF8B4B32F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BADD5BF-C41D-31D8-59DE-4BE70F1AED45}"/>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EFD03E7A-4FFF-26BA-4917-97A124175C68}"/>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228508074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0433B0-92F2-81C5-2112-58C8E9A9DA2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FB6B601-0D7B-FBD6-566E-205AC9E104D7}"/>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5A99FC7B-5A35-B3A0-8246-DB864DE30B5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ECE67F74-99EC-DC11-100A-E9E6A047B48B}"/>
              </a:ext>
            </a:extLst>
          </p:cNvPr>
          <p:cNvSpPr>
            <a:spLocks noGrp="1"/>
          </p:cNvSpPr>
          <p:nvPr>
            <p:ph type="body" sz="quarter" idx="18"/>
          </p:nvPr>
        </p:nvSpPr>
        <p:spPr>
          <a:xfrm>
            <a:off x="503238" y="774000"/>
            <a:ext cx="8136762" cy="360000"/>
          </a:xfrm>
        </p:spPr>
        <p:txBody>
          <a:bodyPr/>
          <a:lstStyle/>
          <a:p>
            <a:pPr>
              <a:defRPr sz="1200">
                <a:latin typeface="Nexa Bold (Headings)"/>
              </a:defRPr>
            </a:pPr>
            <a:r>
              <a:t>Equate 2 | Price Elasticity | Walmart | Assumes no other products are changing prices</a:t>
            </a:r>
          </a:p>
        </p:txBody>
      </p:sp>
      <p:sp>
        <p:nvSpPr>
          <p:cNvPr id="18" name="Title 17">
            <a:extLst>
              <a:ext uri="{FF2B5EF4-FFF2-40B4-BE49-F238E27FC236}">
                <a16:creationId xmlns:a16="http://schemas.microsoft.com/office/drawing/2014/main" id="{BC4E8A2E-8DCA-8CDA-6E8F-9281E78C4C07}"/>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46F24F27-4E71-BBDF-D436-F8DD1E73A38A}"/>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2 Blade Disposable Razors 5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Equate 2 Blade Disposable Razors 12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5.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5DFCED0B-841B-A972-6A3F-5F162A84C7B5}"/>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5CB56CF-AE07-7FA2-6275-933DEDD39AC8}"/>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B6898165-8947-1F46-D637-E4856634BD9E}"/>
              </a:ext>
            </a:extLst>
          </p:cNvPr>
          <p:cNvSpPr>
            <a:spLocks noGrp="1"/>
          </p:cNvSpPr>
          <p:nvPr>
            <p:ph type="sldNum" sz="quarter" idx="16"/>
          </p:nvPr>
        </p:nvSpPr>
        <p:spPr/>
        <p:txBody>
          <a:bodyPr/>
          <a:lstStyle/>
          <a:p>
            <a:fld id="{7B1F438D-4EAF-094E-9162-80CF3EF77236}" type="slidenum">
              <a:rPr lang="en-US" smtClean="0"/>
              <a:pPr/>
              <a:t>67</a:t>
            </a:fld>
            <a:endParaRPr lang="en-US"/>
          </a:p>
        </p:txBody>
      </p:sp>
      <p:sp>
        <p:nvSpPr>
          <p:cNvPr id="3" name="TextBox Y">
            <a:extLst>
              <a:ext uri="{FF2B5EF4-FFF2-40B4-BE49-F238E27FC236}">
                <a16:creationId xmlns:a16="http://schemas.microsoft.com/office/drawing/2014/main" id="{DDA40742-5DE7-B906-3656-8A7AF33317B5}"/>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01272314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5EAD53-6BFA-D12B-91BC-1A695994B4D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00598F0-CCEE-F162-4ADA-CEDA9931AE43}"/>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E2D59722-2874-A163-625A-0783868BC98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1AA272AA-201B-C2C1-9033-A22C6D063E6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2 Blade Disposable Razors 5 Pack | Walmart | Assuming no other products are changing prices</a:t>
            </a:r>
          </a:p>
        </p:txBody>
      </p:sp>
      <p:sp>
        <p:nvSpPr>
          <p:cNvPr id="10" name="Title 9">
            <a:extLst>
              <a:ext uri="{FF2B5EF4-FFF2-40B4-BE49-F238E27FC236}">
                <a16:creationId xmlns:a16="http://schemas.microsoft.com/office/drawing/2014/main" id="{9EF1D567-01A1-7FB4-8BEA-B3D4EF6C561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39253CB5-8E5E-866C-4E65-8BC0E2E030AC}"/>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EDFB2444-7181-61CF-1478-025522D77DCD}"/>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D999CE0-0916-E547-525E-B355B8C24E79}"/>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32439485-3CA0-9F76-98DD-23925969E16E}"/>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8150266-6057-7484-2791-043A99E981F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6297C24F-BEDF-1AF4-1056-A3CE01B30E44}"/>
              </a:ext>
            </a:extLst>
          </p:cNvPr>
          <p:cNvSpPr>
            <a:spLocks noGrp="1"/>
          </p:cNvSpPr>
          <p:nvPr>
            <p:ph type="sldNum" sz="quarter" idx="16"/>
          </p:nvPr>
        </p:nvSpPr>
        <p:spPr/>
        <p:txBody>
          <a:bodyPr/>
          <a:lstStyle/>
          <a:p>
            <a:fld id="{7B1F438D-4EAF-094E-9162-80CF3EF77236}" type="slidenum">
              <a:rPr lang="en-US" smtClean="0"/>
              <a:pPr/>
              <a:t>68</a:t>
            </a:fld>
            <a:endParaRPr lang="en-US"/>
          </a:p>
        </p:txBody>
      </p:sp>
      <p:sp>
        <p:nvSpPr>
          <p:cNvPr id="22" name="Rectangle 21">
            <a:extLst>
              <a:ext uri="{FF2B5EF4-FFF2-40B4-BE49-F238E27FC236}">
                <a16:creationId xmlns:a16="http://schemas.microsoft.com/office/drawing/2014/main" id="{8BBDE9C3-D369-99F8-F465-99FD2C468FB2}"/>
              </a:ext>
            </a:extLst>
          </p:cNvPr>
          <p:cNvSpPr/>
          <p:nvPr/>
        </p:nvSpPr>
        <p:spPr>
          <a:xfrm>
            <a:off x="972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CD482593-D945-C758-B25F-F8840A392FAE}"/>
              </a:ext>
            </a:extLst>
          </p:cNvPr>
          <p:cNvSpPr/>
          <p:nvPr/>
        </p:nvSpPr>
        <p:spPr>
          <a:xfrm>
            <a:off x="3798000" y="1458000"/>
            <a:ext cx="2826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5039167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F90218-7D21-16E0-B245-5AC57271239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D75594A8-92AF-8F23-DE44-5CE5F2ECF1B0}"/>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3 Sensitive Disposable Razors 5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61CDD72-E4F3-1988-C0B6-A8FEA7081019}"/>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ic 3 Sensitive Disposable Razors 5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690758F-B604-4E3C-679D-1D136D2C19B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AB56870-C3B3-29BD-2886-2C45F97B378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EBE832FA-B14D-70C7-8DB1-1A3B7BA1E40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2 Blade Disposable Razors 5 Pack (5.5%) | Up &amp; Down Pricing | Walmart | Assumes no other are changing prices</a:t>
            </a:r>
          </a:p>
        </p:txBody>
      </p:sp>
      <p:sp>
        <p:nvSpPr>
          <p:cNvPr id="4" name="Title1">
            <a:extLst>
              <a:ext uri="{FF2B5EF4-FFF2-40B4-BE49-F238E27FC236}">
                <a16:creationId xmlns:a16="http://schemas.microsoft.com/office/drawing/2014/main" id="{BC351C2E-6B5A-C57F-CB26-DC14D6C94F2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883CAB8-C2FA-626A-4700-970297345857}"/>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36349F8-072A-C01C-29AE-4465FC464CA8}"/>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913A2E4-3DA3-4F0A-1723-FB2AB7E90DDB}"/>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8EFDCA4-5727-7E8E-0E81-D9C0D6434C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3C4048B2-9EE8-4E53-DC8C-9BEEE9CF2EFB}"/>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31083806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A8ABD6-F3FD-7C4B-97BE-7A982B31586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DD3C92A-4E01-9AC0-3CEB-A4A5AC85A9A3}"/>
              </a:ext>
            </a:extLst>
          </p:cNvPr>
          <p:cNvGraphicFramePr>
            <a:graphicFrameLocks noGrp="1"/>
          </p:cNvGraphicFramePr>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996">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996">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996">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996">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996">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996">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5D1BE30-FB1C-A115-AF97-3065FE4665C5}"/>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735">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735">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735">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735">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735">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735">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EC95789-EDA4-D100-17F0-18D532E308E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C5481D9-4200-AEBC-E9E5-D65C0D07EB1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616BD213-9897-1CE3-364D-83BFE4284674}"/>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Gillette (38.7%) | Up &amp; Down Pricing | Walmart | Assumes no other are changing prices</a:t>
            </a:r>
          </a:p>
        </p:txBody>
      </p:sp>
      <p:sp>
        <p:nvSpPr>
          <p:cNvPr id="4" name="Title1">
            <a:extLst>
              <a:ext uri="{FF2B5EF4-FFF2-40B4-BE49-F238E27FC236}">
                <a16:creationId xmlns:a16="http://schemas.microsoft.com/office/drawing/2014/main" id="{6A72149B-2871-560C-E91B-E3899118DDE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4685CBE-99A7-BEB6-03AA-CE940A7640BB}"/>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689AEAED-77C4-16B2-F754-893C15D8180D}"/>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8456E3DF-8A93-A436-961F-51CA193FF5A0}"/>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4B2DB336-6773-CEE7-56F6-C745365293E1}"/>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286372898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AB81F7-6B0F-AA59-8FE8-69891FABF2A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1478B3F7-9717-57AE-B075-66713DB313B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18B3A1C1-D1F9-D966-4188-427578389EC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58507910-4B11-D9D8-E398-ACA2E81C896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2 Blade Disposable Razors 12 Pack | Walmart | Assuming no other products are changing prices</a:t>
            </a:r>
          </a:p>
        </p:txBody>
      </p:sp>
      <p:sp>
        <p:nvSpPr>
          <p:cNvPr id="10" name="Title 9">
            <a:extLst>
              <a:ext uri="{FF2B5EF4-FFF2-40B4-BE49-F238E27FC236}">
                <a16:creationId xmlns:a16="http://schemas.microsoft.com/office/drawing/2014/main" id="{6A64ECC0-342E-5920-F752-E042CDA4E78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9CDAA59E-DE74-E1B1-9139-B1A1BB6CE46A}"/>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A14A91B1-13B9-3D0D-5A05-FD964358A5E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31EAB858-34D6-37E1-2E02-3AEF94AEAC45}"/>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FBAC810F-D513-EDE7-F229-A58B8101E5CD}"/>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367379A-AE24-008C-E6F1-7457286099A7}"/>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F83987A4-8A3B-F680-F688-8CC77CF7EB41}"/>
              </a:ext>
            </a:extLst>
          </p:cNvPr>
          <p:cNvSpPr>
            <a:spLocks noGrp="1"/>
          </p:cNvSpPr>
          <p:nvPr>
            <p:ph type="sldNum" sz="quarter" idx="16"/>
          </p:nvPr>
        </p:nvSpPr>
        <p:spPr/>
        <p:txBody>
          <a:bodyPr/>
          <a:lstStyle/>
          <a:p>
            <a:fld id="{7B1F438D-4EAF-094E-9162-80CF3EF77236}" type="slidenum">
              <a:rPr lang="en-US" smtClean="0"/>
              <a:pPr/>
              <a:t>70</a:t>
            </a:fld>
            <a:endParaRPr lang="en-US"/>
          </a:p>
        </p:txBody>
      </p:sp>
      <p:sp>
        <p:nvSpPr>
          <p:cNvPr id="22" name="Rectangle 21">
            <a:extLst>
              <a:ext uri="{FF2B5EF4-FFF2-40B4-BE49-F238E27FC236}">
                <a16:creationId xmlns:a16="http://schemas.microsoft.com/office/drawing/2014/main" id="{3281D7ED-29B3-DD92-C96D-8B036F457C50}"/>
              </a:ext>
            </a:extLst>
          </p:cNvPr>
          <p:cNvSpPr/>
          <p:nvPr/>
        </p:nvSpPr>
        <p:spPr>
          <a:xfrm>
            <a:off x="972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78F4D4E3-405D-0EA5-ABCE-07D1BA677D63}"/>
              </a:ext>
            </a:extLst>
          </p:cNvPr>
          <p:cNvSpPr/>
          <p:nvPr/>
        </p:nvSpPr>
        <p:spPr>
          <a:xfrm>
            <a:off x="3798000" y="1458000"/>
            <a:ext cx="2826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88332826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4D4B23-D6B6-0DFE-8A35-BA97F937010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D36C03F-F857-3748-1563-BC0F75E2AD86}"/>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3 Sensitive Disposable Razors 5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53EB37D-2E7E-DAF2-9485-7F093C76FE23}"/>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3 Sensitive Disposable Razors 5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EBAA17DF-A80E-2675-FC12-E3167C0EDCD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62C10A9-132B-81C7-143B-E95048D95A8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7F6074D3-1A70-C306-49E2-1CDE9E0225F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2 Blade Disposable Razors 12 Pack (5.7%) | Up &amp; Down Pricing | Walmart | Assumes no other are changing prices</a:t>
            </a:r>
          </a:p>
        </p:txBody>
      </p:sp>
      <p:sp>
        <p:nvSpPr>
          <p:cNvPr id="4" name="Title1">
            <a:extLst>
              <a:ext uri="{FF2B5EF4-FFF2-40B4-BE49-F238E27FC236}">
                <a16:creationId xmlns:a16="http://schemas.microsoft.com/office/drawing/2014/main" id="{AA5C80E7-35DC-B42E-4095-69F216C6074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210C04A7-BDA3-B783-22A4-3115E69BD659}"/>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07144F1-6655-0659-789B-348DD5E44E74}"/>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10D2CE0-5D00-66A4-465B-3949B3A8FFB3}"/>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1887022-CB73-9D47-4AB4-967A29D24712}"/>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ACCB8969-7FCA-B765-77DE-DF664F47FB73}"/>
              </a:ext>
            </a:extLst>
          </p:cNvPr>
          <p:cNvSpPr>
            <a:spLocks noGrp="1"/>
          </p:cNvSpPr>
          <p:nvPr>
            <p:ph type="sldNum" sz="quarter" idx="16"/>
          </p:nvPr>
        </p:nvSpPr>
        <p:spPr/>
        <p:txBody>
          <a:bodyPr/>
          <a:lstStyle/>
          <a:p>
            <a:fld id="{7B1F438D-4EAF-094E-9162-80CF3EF77236}" type="slidenum">
              <a:rPr lang="en-US" smtClean="0"/>
              <a:pPr/>
              <a:t>71</a:t>
            </a:fld>
            <a:endParaRPr lang="en-US"/>
          </a:p>
        </p:txBody>
      </p:sp>
    </p:spTree>
    <p:extLst>
      <p:ext uri="{BB962C8B-B14F-4D97-AF65-F5344CB8AC3E}">
        <p14:creationId xmlns:p14="http://schemas.microsoft.com/office/powerpoint/2010/main" val="402935418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A10829-0BCC-31F5-36AB-F98652D98C78}"/>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416283B-20D4-9C92-FA20-7F2B7E095A73}"/>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37A4E4E-0E26-C608-CC9F-FC2FA77F3332}"/>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CA448CE4-A699-F578-0C9B-BAFB04B97B61}"/>
              </a:ext>
            </a:extLst>
          </p:cNvPr>
          <p:cNvSpPr>
            <a:spLocks noGrp="1"/>
          </p:cNvSpPr>
          <p:nvPr>
            <p:ph type="body" sz="quarter" idx="18"/>
          </p:nvPr>
        </p:nvSpPr>
        <p:spPr>
          <a:xfrm>
            <a:off x="503238" y="774000"/>
            <a:ext cx="8136762" cy="360000"/>
          </a:xfrm>
        </p:spPr>
        <p:txBody>
          <a:bodyPr/>
          <a:lstStyle/>
          <a:p>
            <a:pPr>
              <a:defRPr sz="1200">
                <a:latin typeface="Nexa Bold (Headings)"/>
              </a:defRPr>
            </a:pPr>
            <a:r>
              <a:t>Equate Dispo Inno | Price Elasticity | Walmart | Assumes no other products are changing prices</a:t>
            </a:r>
          </a:p>
        </p:txBody>
      </p:sp>
      <p:sp>
        <p:nvSpPr>
          <p:cNvPr id="18" name="Title 17">
            <a:extLst>
              <a:ext uri="{FF2B5EF4-FFF2-40B4-BE49-F238E27FC236}">
                <a16:creationId xmlns:a16="http://schemas.microsoft.com/office/drawing/2014/main" id="{44703C53-2A35-F2AD-FA00-88D951F0109C}"/>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4D7C9677-FDD5-4F39-9BFD-25A8B8EA4298}"/>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2 Blade Disposable Razors 20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Equate Caliber 3 Disposable Razor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Equate Caliber 5 Disposable Razor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02AC0A85-1EAA-50A9-495A-7785C0B33B2C}"/>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AA6CA7F1-E724-FAB5-8517-F4ACB868BED8}"/>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2AAA2690-DB66-A3C2-5536-CDB69B889B4E}"/>
              </a:ext>
            </a:extLst>
          </p:cNvPr>
          <p:cNvSpPr>
            <a:spLocks noGrp="1"/>
          </p:cNvSpPr>
          <p:nvPr>
            <p:ph type="sldNum" sz="quarter" idx="16"/>
          </p:nvPr>
        </p:nvSpPr>
        <p:spPr/>
        <p:txBody>
          <a:bodyPr/>
          <a:lstStyle/>
          <a:p>
            <a:fld id="{7B1F438D-4EAF-094E-9162-80CF3EF77236}" type="slidenum">
              <a:rPr lang="en-US" smtClean="0"/>
              <a:pPr/>
              <a:t>72</a:t>
            </a:fld>
            <a:endParaRPr lang="en-US"/>
          </a:p>
        </p:txBody>
      </p:sp>
      <p:sp>
        <p:nvSpPr>
          <p:cNvPr id="3" name="TextBox Y">
            <a:extLst>
              <a:ext uri="{FF2B5EF4-FFF2-40B4-BE49-F238E27FC236}">
                <a16:creationId xmlns:a16="http://schemas.microsoft.com/office/drawing/2014/main" id="{09251090-5F09-2C20-E92A-09110EA5858F}"/>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67163511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861919-7E21-4131-C0EA-D3E7689002A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10C1565-62B1-DE41-EE84-4339D810BC2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C3FE4C83-C3ED-F3C1-20FB-A72E39D1084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87CF65EC-B024-6388-ED31-5F5030FD5E9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2 Blade Disposable Razors 20 Pack | Walmart | Assuming no other products are changing prices</a:t>
            </a:r>
          </a:p>
        </p:txBody>
      </p:sp>
      <p:sp>
        <p:nvSpPr>
          <p:cNvPr id="10" name="Title 9">
            <a:extLst>
              <a:ext uri="{FF2B5EF4-FFF2-40B4-BE49-F238E27FC236}">
                <a16:creationId xmlns:a16="http://schemas.microsoft.com/office/drawing/2014/main" id="{B7B2CC0E-8003-8CAA-903A-F047A276BBC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73482A6F-03DF-0DF9-222C-50D9218DF690}"/>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5254303-D621-1BD0-73D6-33CDB78258B1}"/>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30A51469-B318-C94B-A7EA-CFCB09F29C9A}"/>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5F72216-3387-3314-9739-D07B3787F9B8}"/>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6DF0140-EA68-251D-673F-435E0408EA67}"/>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98F9DE8-241F-D0E8-BAB3-C944266DB152}"/>
              </a:ext>
            </a:extLst>
          </p:cNvPr>
          <p:cNvSpPr>
            <a:spLocks noGrp="1"/>
          </p:cNvSpPr>
          <p:nvPr>
            <p:ph type="sldNum" sz="quarter" idx="16"/>
          </p:nvPr>
        </p:nvSpPr>
        <p:spPr/>
        <p:txBody>
          <a:bodyPr/>
          <a:lstStyle/>
          <a:p>
            <a:fld id="{7B1F438D-4EAF-094E-9162-80CF3EF77236}" type="slidenum">
              <a:rPr lang="en-US" smtClean="0"/>
              <a:pPr/>
              <a:t>73</a:t>
            </a:fld>
            <a:endParaRPr lang="en-US"/>
          </a:p>
        </p:txBody>
      </p:sp>
      <p:sp>
        <p:nvSpPr>
          <p:cNvPr id="22" name="Rectangle 21">
            <a:extLst>
              <a:ext uri="{FF2B5EF4-FFF2-40B4-BE49-F238E27FC236}">
                <a16:creationId xmlns:a16="http://schemas.microsoft.com/office/drawing/2014/main" id="{D0C81E16-DE25-97BE-AC2B-CCC5A0008681}"/>
              </a:ext>
            </a:extLst>
          </p:cNvPr>
          <p:cNvSpPr/>
          <p:nvPr/>
        </p:nvSpPr>
        <p:spPr>
          <a:xfrm>
            <a:off x="972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43ED1FC7-D003-8BC5-2418-B1936788D1E6}"/>
              </a:ext>
            </a:extLst>
          </p:cNvPr>
          <p:cNvSpPr/>
          <p:nvPr/>
        </p:nvSpPr>
        <p:spPr>
          <a:xfrm>
            <a:off x="3798000" y="1458000"/>
            <a:ext cx="2826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71705227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EE51E7-39F9-CED9-3AE8-792C89EFA1A6}"/>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1EA8232-1A6E-BDC9-0591-5E4C11578B74}"/>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8.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2C4DEEB-D6BE-8921-B1AA-CB285CF2E4B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3 Sensitive Disposable Razors 5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00CCA31-1E0A-5CB7-8DB8-796B8DD56692}"/>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354D32C-6A18-EC75-49DD-F0F7E6F549B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80BDF673-7E59-1377-D467-AE575B22728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2 Blade Disposable Razors 20 Pack (0.0%) | Up &amp; Down Pricing | Walmart | Assumes no other are changing prices</a:t>
            </a:r>
          </a:p>
        </p:txBody>
      </p:sp>
      <p:sp>
        <p:nvSpPr>
          <p:cNvPr id="4" name="Title1">
            <a:extLst>
              <a:ext uri="{FF2B5EF4-FFF2-40B4-BE49-F238E27FC236}">
                <a16:creationId xmlns:a16="http://schemas.microsoft.com/office/drawing/2014/main" id="{B8EE39E6-307D-B734-59D3-6BFA3802463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49B5ECF8-0505-2BB3-C394-06FD5D7C1241}"/>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E3ACD88-4393-EEE4-6316-48F0DF5C8FDE}"/>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61098A46-6992-0675-2B74-64AD52A35D0A}"/>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A2F9A22-AC66-1798-ED9C-23B9816EA5A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98CEEEA1-6C67-23B4-B88B-555015F17DFD}"/>
              </a:ext>
            </a:extLst>
          </p:cNvPr>
          <p:cNvSpPr>
            <a:spLocks noGrp="1"/>
          </p:cNvSpPr>
          <p:nvPr>
            <p:ph type="sldNum" sz="quarter" idx="16"/>
          </p:nvPr>
        </p:nvSpPr>
        <p:spPr/>
        <p:txBody>
          <a:bodyPr/>
          <a:lstStyle/>
          <a:p>
            <a:fld id="{7B1F438D-4EAF-094E-9162-80CF3EF77236}" type="slidenum">
              <a:rPr lang="en-US" smtClean="0"/>
              <a:pPr/>
              <a:t>74</a:t>
            </a:fld>
            <a:endParaRPr lang="en-US"/>
          </a:p>
        </p:txBody>
      </p:sp>
    </p:spTree>
    <p:extLst>
      <p:ext uri="{BB962C8B-B14F-4D97-AF65-F5344CB8AC3E}">
        <p14:creationId xmlns:p14="http://schemas.microsoft.com/office/powerpoint/2010/main" val="184623352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41CD88-90AB-88C8-B4B2-C058E8B56128}"/>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AC6F808-8774-FCE2-6939-D85EDC1099CF}"/>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FB8813E-5674-7DC9-1460-720F8486963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2D0F0B1A-F02E-3868-CCE1-7E33627E648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Caliber 3 Disposable Razors 6 Pack | Walmart | Assuming no other products are changing prices</a:t>
            </a:r>
          </a:p>
        </p:txBody>
      </p:sp>
      <p:sp>
        <p:nvSpPr>
          <p:cNvPr id="10" name="Title 9">
            <a:extLst>
              <a:ext uri="{FF2B5EF4-FFF2-40B4-BE49-F238E27FC236}">
                <a16:creationId xmlns:a16="http://schemas.microsoft.com/office/drawing/2014/main" id="{9B952290-C425-B598-E39B-C1CB8487F30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DBA1AC91-BAFD-79A2-AC0E-F0D7461F823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3AFF28A1-F02E-3639-D83F-CD6FB1BA4C5C}"/>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CC669553-A4C8-19E3-205D-5CE7D10F79F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461075FB-35AE-8057-F401-7D089B6111B0}"/>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023F043-FAE7-ACAF-B208-11ACFA9A8A28}"/>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564900A8-57AE-9A35-A82A-127E42522715}"/>
              </a:ext>
            </a:extLst>
          </p:cNvPr>
          <p:cNvSpPr>
            <a:spLocks noGrp="1"/>
          </p:cNvSpPr>
          <p:nvPr>
            <p:ph type="sldNum" sz="quarter" idx="16"/>
          </p:nvPr>
        </p:nvSpPr>
        <p:spPr/>
        <p:txBody>
          <a:bodyPr/>
          <a:lstStyle/>
          <a:p>
            <a:fld id="{7B1F438D-4EAF-094E-9162-80CF3EF77236}" type="slidenum">
              <a:rPr lang="en-US" smtClean="0"/>
              <a:pPr/>
              <a:t>75</a:t>
            </a:fld>
            <a:endParaRPr lang="en-US"/>
          </a:p>
        </p:txBody>
      </p:sp>
      <p:sp>
        <p:nvSpPr>
          <p:cNvPr id="22" name="Rectangle 21">
            <a:extLst>
              <a:ext uri="{FF2B5EF4-FFF2-40B4-BE49-F238E27FC236}">
                <a16:creationId xmlns:a16="http://schemas.microsoft.com/office/drawing/2014/main" id="{D73D5423-7180-9CEF-298B-5F1DFE02A2FB}"/>
              </a:ext>
            </a:extLst>
          </p:cNvPr>
          <p:cNvSpPr/>
          <p:nvPr/>
        </p:nvSpPr>
        <p:spPr>
          <a:xfrm>
            <a:off x="97200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C0D610A6-C594-83A3-D523-799622D42300}"/>
              </a:ext>
            </a:extLst>
          </p:cNvPr>
          <p:cNvSpPr/>
          <p:nvPr/>
        </p:nvSpPr>
        <p:spPr>
          <a:xfrm>
            <a:off x="311976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FEFED633-36CA-83EF-7361-82684994F40E}"/>
              </a:ext>
            </a:extLst>
          </p:cNvPr>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04506889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B2E71E-D348-7C25-9082-B2D25CB7F4A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4B23045A-79E8-C7C6-B397-A4F770B8858F}"/>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8.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3490D17-180D-70B5-D921-9AA74F909F5C}"/>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E3115F8B-4067-97E7-63BA-6B0B00F6A4BD}"/>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821874F-1F80-3EB7-8B1E-6DE90A108B4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F99CE4D6-619D-C820-D81A-846F0A3D600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Caliber 3 Disposable Razors 6 Pack (0.0%) | Up &amp; Down Pricing | Walmart | Assumes no other are changing prices</a:t>
            </a:r>
          </a:p>
        </p:txBody>
      </p:sp>
      <p:sp>
        <p:nvSpPr>
          <p:cNvPr id="4" name="Title1">
            <a:extLst>
              <a:ext uri="{FF2B5EF4-FFF2-40B4-BE49-F238E27FC236}">
                <a16:creationId xmlns:a16="http://schemas.microsoft.com/office/drawing/2014/main" id="{6AEFCA9F-58AA-116D-1047-E0FA14AC58B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EF38691-648E-7566-76A2-DC87D31D78E8}"/>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189473C-947F-010B-5AE2-1644B6DCE42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D5FC7510-D415-271B-E92C-EE2B29DBCCDD}"/>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9B4941D-FD11-E202-45FB-FAB79343D03A}"/>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79BDBF2A-165E-A0DC-20FA-1509B8FD2F41}"/>
              </a:ext>
            </a:extLst>
          </p:cNvPr>
          <p:cNvSpPr>
            <a:spLocks noGrp="1"/>
          </p:cNvSpPr>
          <p:nvPr>
            <p:ph type="sldNum" sz="quarter" idx="16"/>
          </p:nvPr>
        </p:nvSpPr>
        <p:spPr/>
        <p:txBody>
          <a:bodyPr/>
          <a:lstStyle/>
          <a:p>
            <a:fld id="{7B1F438D-4EAF-094E-9162-80CF3EF77236}" type="slidenum">
              <a:rPr lang="en-US" smtClean="0"/>
              <a:pPr/>
              <a:t>76</a:t>
            </a:fld>
            <a:endParaRPr lang="en-US"/>
          </a:p>
        </p:txBody>
      </p:sp>
    </p:spTree>
    <p:extLst>
      <p:ext uri="{BB962C8B-B14F-4D97-AF65-F5344CB8AC3E}">
        <p14:creationId xmlns:p14="http://schemas.microsoft.com/office/powerpoint/2010/main" val="30388562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9B3FCC-035B-2E05-1357-F1282D0C85A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66480E0F-F311-BC9D-9143-31FB41E9202B}"/>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DEBEAD1-1A67-D149-CA9C-47450F2CDCC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C4232DF4-B60B-B9DA-DAFA-8336B78C3F3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Caliber 5 Disposable Razors 6 Pack | Walmart | Assuming no other products are changing prices</a:t>
            </a:r>
          </a:p>
        </p:txBody>
      </p:sp>
      <p:sp>
        <p:nvSpPr>
          <p:cNvPr id="10" name="Title 9">
            <a:extLst>
              <a:ext uri="{FF2B5EF4-FFF2-40B4-BE49-F238E27FC236}">
                <a16:creationId xmlns:a16="http://schemas.microsoft.com/office/drawing/2014/main" id="{8B9E8FA0-8608-1D9D-8350-3B09427577B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5D576F3B-3007-532B-08F6-A61351AFE83E}"/>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2F6C8162-3FA1-8D19-7F8C-1408AF4BBD93}"/>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17A2C5C-DA2A-0982-A612-F8CD0687E8FE}"/>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2A0628B-8E28-E7F5-5120-A5D1B5F9F60E}"/>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21F12AE-6714-01E1-D386-BFDD926EB61D}"/>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41CC0703-EB74-9139-D569-89A24FCBC358}"/>
              </a:ext>
            </a:extLst>
          </p:cNvPr>
          <p:cNvSpPr>
            <a:spLocks noGrp="1"/>
          </p:cNvSpPr>
          <p:nvPr>
            <p:ph type="sldNum" sz="quarter" idx="16"/>
          </p:nvPr>
        </p:nvSpPr>
        <p:spPr/>
        <p:txBody>
          <a:bodyPr/>
          <a:lstStyle/>
          <a:p>
            <a:fld id="{7B1F438D-4EAF-094E-9162-80CF3EF77236}" type="slidenum">
              <a:rPr lang="en-US" smtClean="0"/>
              <a:pPr/>
              <a:t>77</a:t>
            </a:fld>
            <a:endParaRPr lang="en-US"/>
          </a:p>
        </p:txBody>
      </p:sp>
      <p:sp>
        <p:nvSpPr>
          <p:cNvPr id="22" name="Rectangle 21">
            <a:extLst>
              <a:ext uri="{FF2B5EF4-FFF2-40B4-BE49-F238E27FC236}">
                <a16:creationId xmlns:a16="http://schemas.microsoft.com/office/drawing/2014/main" id="{810715A2-4A8B-CA80-7AE9-01106C10B894}"/>
              </a:ext>
            </a:extLst>
          </p:cNvPr>
          <p:cNvSpPr/>
          <p:nvPr/>
        </p:nvSpPr>
        <p:spPr>
          <a:xfrm>
            <a:off x="972000" y="1458000"/>
            <a:ext cx="4239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0874821C-C8E5-5EFE-8D40-C4E0E0A7B743}"/>
              </a:ext>
            </a:extLst>
          </p:cNvPr>
          <p:cNvSpPr/>
          <p:nvPr/>
        </p:nvSpPr>
        <p:spPr>
          <a:xfrm>
            <a:off x="52110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F1C01579-32A5-4CCD-83CB-A834C5DE49BA}"/>
              </a:ext>
            </a:extLst>
          </p:cNvPr>
          <p:cNvSpPr/>
          <p:nvPr/>
        </p:nvSpPr>
        <p:spPr>
          <a:xfrm>
            <a:off x="594576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45728457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FBC6BE-135C-E650-6246-1F5A3DF0A9B3}"/>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4BA1DC8F-5F2C-589B-13A3-B52CED8B00BF}"/>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8.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F12399C-071F-FD44-4660-033B72A5A181}"/>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24A64C9-C73C-CEA8-C583-96629C67220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992DC0E-75E0-20DA-E950-A2BD349CB25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427E208A-41AD-E5AD-9537-1AA36A99F8E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Caliber 5 Disposable Razors 6 Pack (0.0%) | Up &amp; Down Pricing | Walmart | Assumes no other are changing prices</a:t>
            </a:r>
          </a:p>
        </p:txBody>
      </p:sp>
      <p:sp>
        <p:nvSpPr>
          <p:cNvPr id="4" name="Title1">
            <a:extLst>
              <a:ext uri="{FF2B5EF4-FFF2-40B4-BE49-F238E27FC236}">
                <a16:creationId xmlns:a16="http://schemas.microsoft.com/office/drawing/2014/main" id="{AB61617E-F438-A40E-8217-8DF3CEEC35E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4100A728-268B-3223-EFAA-596A81ED4157}"/>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B60CB5E-AB44-1C3E-CB51-E77D7D4A265C}"/>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E2600D90-AEC1-78EB-D444-810F7F15D3F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45D6CA2-A2C6-21B0-8597-67C2BB20DA4A}"/>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0E7AED5E-35D3-A0E0-C08D-9E64A5612E4B}"/>
              </a:ext>
            </a:extLst>
          </p:cNvPr>
          <p:cNvSpPr>
            <a:spLocks noGrp="1"/>
          </p:cNvSpPr>
          <p:nvPr>
            <p:ph type="sldNum" sz="quarter" idx="16"/>
          </p:nvPr>
        </p:nvSpPr>
        <p:spPr/>
        <p:txBody>
          <a:bodyPr/>
          <a:lstStyle/>
          <a:p>
            <a:fld id="{7B1F438D-4EAF-094E-9162-80CF3EF77236}" type="slidenum">
              <a:rPr lang="en-US" smtClean="0"/>
              <a:pPr/>
              <a:t>78</a:t>
            </a:fld>
            <a:endParaRPr lang="en-US"/>
          </a:p>
        </p:txBody>
      </p:sp>
    </p:spTree>
    <p:extLst>
      <p:ext uri="{BB962C8B-B14F-4D97-AF65-F5344CB8AC3E}">
        <p14:creationId xmlns:p14="http://schemas.microsoft.com/office/powerpoint/2010/main" val="103502889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B2CAA5-3C72-B391-47E5-EF607E2F5C32}"/>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05D5FDE-82C9-981F-6ED5-D71CECF9E152}"/>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EB2A6017-6B55-E3AF-0D35-B22BD71EC0F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71DEA05F-5EAC-7C2D-4133-8451F7A467B4}"/>
              </a:ext>
            </a:extLst>
          </p:cNvPr>
          <p:cNvSpPr>
            <a:spLocks noGrp="1"/>
          </p:cNvSpPr>
          <p:nvPr>
            <p:ph type="body" sz="quarter" idx="18"/>
          </p:nvPr>
        </p:nvSpPr>
        <p:spPr>
          <a:xfrm>
            <a:off x="503238" y="774000"/>
            <a:ext cx="8136762" cy="360000"/>
          </a:xfrm>
        </p:spPr>
        <p:txBody>
          <a:bodyPr/>
          <a:lstStyle/>
          <a:p>
            <a:pPr>
              <a:defRPr sz="1200">
                <a:latin typeface="Nexa Bold (Headings)"/>
              </a:defRPr>
            </a:pPr>
            <a:r>
              <a:t>Caliber | Price Elasticity | Walmart | Assumes no other products are changing prices</a:t>
            </a:r>
          </a:p>
        </p:txBody>
      </p:sp>
      <p:sp>
        <p:nvSpPr>
          <p:cNvPr id="18" name="Title 17">
            <a:extLst>
              <a:ext uri="{FF2B5EF4-FFF2-40B4-BE49-F238E27FC236}">
                <a16:creationId xmlns:a16="http://schemas.microsoft.com/office/drawing/2014/main" id="{15EE0B4F-8542-1D96-580F-73F9E0976A28}"/>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28E6DFDB-AE01-B488-5921-46EF8D1AB6E0}"/>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Caliber 3 Disposable Razor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4.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Equate Caliber 5 Disposable Razor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90D6E22-B7A1-D0B5-60B4-BD36F2E8B2D8}"/>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0C92E516-46E8-D40A-C20A-C46034DE89D6}"/>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08472ED8-4384-EE64-E365-5AD54B7A5235}"/>
              </a:ext>
            </a:extLst>
          </p:cNvPr>
          <p:cNvSpPr>
            <a:spLocks noGrp="1"/>
          </p:cNvSpPr>
          <p:nvPr>
            <p:ph type="sldNum" sz="quarter" idx="16"/>
          </p:nvPr>
        </p:nvSpPr>
        <p:spPr/>
        <p:txBody>
          <a:bodyPr/>
          <a:lstStyle/>
          <a:p>
            <a:fld id="{7B1F438D-4EAF-094E-9162-80CF3EF77236}" type="slidenum">
              <a:rPr lang="en-US" smtClean="0"/>
              <a:pPr/>
              <a:t>79</a:t>
            </a:fld>
            <a:endParaRPr lang="en-US"/>
          </a:p>
        </p:txBody>
      </p:sp>
      <p:sp>
        <p:nvSpPr>
          <p:cNvPr id="3" name="TextBox Y">
            <a:extLst>
              <a:ext uri="{FF2B5EF4-FFF2-40B4-BE49-F238E27FC236}">
                <a16:creationId xmlns:a16="http://schemas.microsoft.com/office/drawing/2014/main" id="{637A2311-D6DF-CB43-E69C-A50651D92470}"/>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563596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D05C93-6235-B440-1EAE-20BE3CDBF12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EADE0F8-E3D5-7E5A-4968-4B208B53A3DC}"/>
              </a:ext>
            </a:extLst>
          </p:cNvPr>
          <p:cNvGraphicFramePr>
            <a:graphicFrameLocks noGrp="1"/>
          </p:cNvGraphicFramePr>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996">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996">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996">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996">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996">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996">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AEEB3A0-EF42-E693-E8A7-D518E997EA60}"/>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735">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735">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735">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735">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735">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735">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266CB31-0CBB-C385-09B7-97E163EF77E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74CF26A-034C-7AD2-A736-7C8102745092}"/>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7E0FBC9D-B3B0-2238-1759-B4F61307A63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ic (16.9%) | Up &amp; Down Pricing | Walmart | Assumes no other are changing prices</a:t>
            </a:r>
          </a:p>
        </p:txBody>
      </p:sp>
      <p:sp>
        <p:nvSpPr>
          <p:cNvPr id="4" name="Title1">
            <a:extLst>
              <a:ext uri="{FF2B5EF4-FFF2-40B4-BE49-F238E27FC236}">
                <a16:creationId xmlns:a16="http://schemas.microsoft.com/office/drawing/2014/main" id="{C9FC6564-EA1A-829F-100F-8A21FD9DF04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7C92983-0C16-D268-2CCF-D90A08DCBD6F}"/>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315B1D9-C3DD-860A-EB43-AF40EB70ECA1}"/>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81913DB2-4BA5-D247-728B-5CAE8FE4BF93}"/>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16E3FEF9-D654-8E29-1BE8-27A03CF21CCD}"/>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23437250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BA2701-836E-3FE8-9AAE-9793485CA1C3}"/>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D30B79C-064F-A80C-4FF7-E0DC18F9B736}"/>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F02A34F6-C9CC-3579-D142-67680E2A94E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69BE945-CCD6-183C-1DC9-B885CFEB85A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Caliber 3 Disposable Razors 3 Pack | Walmart | Assuming no other products are changing prices</a:t>
            </a:r>
          </a:p>
        </p:txBody>
      </p:sp>
      <p:sp>
        <p:nvSpPr>
          <p:cNvPr id="10" name="Title 9">
            <a:extLst>
              <a:ext uri="{FF2B5EF4-FFF2-40B4-BE49-F238E27FC236}">
                <a16:creationId xmlns:a16="http://schemas.microsoft.com/office/drawing/2014/main" id="{9021576D-FC55-5AC3-2991-A07BFFAE6E5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22629469-DA0F-409D-DBDC-D270D8D6C17E}"/>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AA1995EC-7DA2-D7BC-F6AC-F319741F0BFF}"/>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AE892A78-B4EA-79AF-473E-C4ADDF1169DE}"/>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281440C2-12DE-4115-DE7E-295FAD58F81C}"/>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A58E76D-B2F7-6FA6-7196-8A43F859B4C6}"/>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7FCE2141-ED64-A480-0302-84BA5BB4A67E}"/>
              </a:ext>
            </a:extLst>
          </p:cNvPr>
          <p:cNvSpPr>
            <a:spLocks noGrp="1"/>
          </p:cNvSpPr>
          <p:nvPr>
            <p:ph type="sldNum" sz="quarter" idx="16"/>
          </p:nvPr>
        </p:nvSpPr>
        <p:spPr/>
        <p:txBody>
          <a:bodyPr/>
          <a:lstStyle/>
          <a:p>
            <a:fld id="{7B1F438D-4EAF-094E-9162-80CF3EF77236}" type="slidenum">
              <a:rPr lang="en-US" smtClean="0"/>
              <a:pPr/>
              <a:t>80</a:t>
            </a:fld>
            <a:endParaRPr lang="en-US"/>
          </a:p>
        </p:txBody>
      </p:sp>
      <p:sp>
        <p:nvSpPr>
          <p:cNvPr id="22" name="Rectangle 21">
            <a:extLst>
              <a:ext uri="{FF2B5EF4-FFF2-40B4-BE49-F238E27FC236}">
                <a16:creationId xmlns:a16="http://schemas.microsoft.com/office/drawing/2014/main" id="{1C3D21D3-426F-8307-CD08-A29F11CB255F}"/>
              </a:ext>
            </a:extLst>
          </p:cNvPr>
          <p:cNvSpPr/>
          <p:nvPr/>
        </p:nvSpPr>
        <p:spPr>
          <a:xfrm>
            <a:off x="972000" y="1458000"/>
            <a:ext cx="2430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F3D13F56-2AA6-821A-E702-356D4552EDB5}"/>
              </a:ext>
            </a:extLst>
          </p:cNvPr>
          <p:cNvSpPr/>
          <p:nvPr/>
        </p:nvSpPr>
        <p:spPr>
          <a:xfrm>
            <a:off x="3402360" y="1458000"/>
            <a:ext cx="3221639"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76231749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4C6C0F-25A9-1A9F-AAF1-6DDD58002F95}"/>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D6AFEB27-1888-1BEA-8F65-DD1BD9367032}"/>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9.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6A14038-1358-E73C-7153-CDEA5AB8B3D7}"/>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DA4B555-68D3-EBE7-4FC4-61809B1A62A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3B305E1-05B4-87AA-D576-E1DC008DD4DB}"/>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93AA28FF-D515-1576-6703-9E72589C4FD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Caliber 3 Disposable Razors 3 Pack (1.4%) | Up &amp; Down Pricing | Walmart | Assumes no other are changing prices</a:t>
            </a:r>
          </a:p>
        </p:txBody>
      </p:sp>
      <p:sp>
        <p:nvSpPr>
          <p:cNvPr id="4" name="Title1">
            <a:extLst>
              <a:ext uri="{FF2B5EF4-FFF2-40B4-BE49-F238E27FC236}">
                <a16:creationId xmlns:a16="http://schemas.microsoft.com/office/drawing/2014/main" id="{923145FA-B8C9-EEC4-4A84-2D34D82D988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EC7EAAA-B321-EEFA-1724-71906924FC1D}"/>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EA37B7A-337F-6D53-74FE-8970D779228B}"/>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82A22B7-D43E-B9B5-C706-F3796A1DEEC1}"/>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6879080-4C8E-AE6C-A1C9-6D4DD5D72409}"/>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71CE468C-306A-1F61-FEB8-DD832C4A85B8}"/>
              </a:ext>
            </a:extLst>
          </p:cNvPr>
          <p:cNvSpPr>
            <a:spLocks noGrp="1"/>
          </p:cNvSpPr>
          <p:nvPr>
            <p:ph type="sldNum" sz="quarter" idx="16"/>
          </p:nvPr>
        </p:nvSpPr>
        <p:spPr/>
        <p:txBody>
          <a:bodyPr/>
          <a:lstStyle/>
          <a:p>
            <a:fld id="{7B1F438D-4EAF-094E-9162-80CF3EF77236}" type="slidenum">
              <a:rPr lang="en-US" smtClean="0"/>
              <a:pPr/>
              <a:t>81</a:t>
            </a:fld>
            <a:endParaRPr lang="en-US"/>
          </a:p>
        </p:txBody>
      </p:sp>
    </p:spTree>
    <p:extLst>
      <p:ext uri="{BB962C8B-B14F-4D97-AF65-F5344CB8AC3E}">
        <p14:creationId xmlns:p14="http://schemas.microsoft.com/office/powerpoint/2010/main" val="343709832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22BCAC-EDCE-00CE-EB5D-751A159E2838}"/>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3F4624C3-F1C0-F0F4-47FA-C52348C739A9}"/>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5D273DD5-44A4-6084-6A53-5EC008A19D8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DAD15CF5-B2BE-C4E4-D3C3-38BBDCFEA07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Caliber 5 Disposable Razors 3 Pack | Walmart | Assuming no other products are changing prices</a:t>
            </a:r>
          </a:p>
        </p:txBody>
      </p:sp>
      <p:sp>
        <p:nvSpPr>
          <p:cNvPr id="10" name="Title 9">
            <a:extLst>
              <a:ext uri="{FF2B5EF4-FFF2-40B4-BE49-F238E27FC236}">
                <a16:creationId xmlns:a16="http://schemas.microsoft.com/office/drawing/2014/main" id="{87ABD52C-623D-A38B-3C4C-BB56245A390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A20FEC8B-517D-D503-0916-C572ECC0C99B}"/>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95AF9E2-732B-3995-EAF6-95D9C7AD7005}"/>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0FE29E0F-2C04-90D0-49BF-C5F6533191CD}"/>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C698D2F6-A1C3-D61A-CF16-E506EE37155A}"/>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0334357-EB61-B676-CFD5-965F0928781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A8579186-3CEB-5B45-F247-78FE16D7C24B}"/>
              </a:ext>
            </a:extLst>
          </p:cNvPr>
          <p:cNvSpPr>
            <a:spLocks noGrp="1"/>
          </p:cNvSpPr>
          <p:nvPr>
            <p:ph type="sldNum" sz="quarter" idx="16"/>
          </p:nvPr>
        </p:nvSpPr>
        <p:spPr/>
        <p:txBody>
          <a:bodyPr/>
          <a:lstStyle/>
          <a:p>
            <a:fld id="{7B1F438D-4EAF-094E-9162-80CF3EF77236}" type="slidenum">
              <a:rPr lang="en-US" smtClean="0"/>
              <a:pPr/>
              <a:t>82</a:t>
            </a:fld>
            <a:endParaRPr lang="en-US"/>
          </a:p>
        </p:txBody>
      </p:sp>
      <p:sp>
        <p:nvSpPr>
          <p:cNvPr id="22" name="Rectangle 21">
            <a:extLst>
              <a:ext uri="{FF2B5EF4-FFF2-40B4-BE49-F238E27FC236}">
                <a16:creationId xmlns:a16="http://schemas.microsoft.com/office/drawing/2014/main" id="{D3AA1237-B603-B6A9-41E2-2332D752695E}"/>
              </a:ext>
            </a:extLst>
          </p:cNvPr>
          <p:cNvSpPr/>
          <p:nvPr/>
        </p:nvSpPr>
        <p:spPr>
          <a:xfrm>
            <a:off x="972000" y="1458000"/>
            <a:ext cx="2260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D1362C23-3E56-139D-F8C9-5AB32AF31E9B}"/>
              </a:ext>
            </a:extLst>
          </p:cNvPr>
          <p:cNvSpPr/>
          <p:nvPr/>
        </p:nvSpPr>
        <p:spPr>
          <a:xfrm>
            <a:off x="323280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4" name="Rectangle 23">
            <a:extLst>
              <a:ext uri="{FF2B5EF4-FFF2-40B4-BE49-F238E27FC236}">
                <a16:creationId xmlns:a16="http://schemas.microsoft.com/office/drawing/2014/main" id="{98033F98-E07C-86E2-0DDB-E3B882A9080B}"/>
              </a:ext>
            </a:extLst>
          </p:cNvPr>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50390653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E87507-5F92-AB6C-2401-03E40004EE43}"/>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B40FA72-3363-59C2-01EB-6DD003038955}"/>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7B2500C-EC39-675C-F37C-0EF60E603FAA}"/>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3 Sensitive Disposable Razors 5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430C802-6091-86B9-A933-4A01857E305D}"/>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ACBBBEB-C3BE-3F40-DD52-7A387B69085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85C650F0-C62A-6E71-9555-02A8466F01A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Caliber 5 Disposable Razors 3 Pack (2.2%) | Up &amp; Down Pricing | Walmart | Assumes no other are changing prices</a:t>
            </a:r>
          </a:p>
        </p:txBody>
      </p:sp>
      <p:sp>
        <p:nvSpPr>
          <p:cNvPr id="4" name="Title1">
            <a:extLst>
              <a:ext uri="{FF2B5EF4-FFF2-40B4-BE49-F238E27FC236}">
                <a16:creationId xmlns:a16="http://schemas.microsoft.com/office/drawing/2014/main" id="{F8E04530-1BA6-C47A-7DB6-161DADFC7A5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7E8CBD17-68EF-5A4B-E01B-91C2F35F4F92}"/>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D8F00DD-C0BF-B618-4C06-5C38ED1F7222}"/>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9B183C62-3665-846C-8A53-D26D3CD6F54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3706848-2F60-61EA-186E-9CB14B1FAAA1}"/>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FA3DC3AF-4DC8-8D03-18D5-3E583F0B8D94}"/>
              </a:ext>
            </a:extLst>
          </p:cNvPr>
          <p:cNvSpPr>
            <a:spLocks noGrp="1"/>
          </p:cNvSpPr>
          <p:nvPr>
            <p:ph type="sldNum" sz="quarter" idx="16"/>
          </p:nvPr>
        </p:nvSpPr>
        <p:spPr/>
        <p:txBody>
          <a:bodyPr/>
          <a:lstStyle/>
          <a:p>
            <a:fld id="{7B1F438D-4EAF-094E-9162-80CF3EF77236}" type="slidenum">
              <a:rPr lang="en-US" smtClean="0"/>
              <a:pPr/>
              <a:t>83</a:t>
            </a:fld>
            <a:endParaRPr lang="en-US"/>
          </a:p>
        </p:txBody>
      </p:sp>
    </p:spTree>
    <p:extLst>
      <p:ext uri="{BB962C8B-B14F-4D97-AF65-F5344CB8AC3E}">
        <p14:creationId xmlns:p14="http://schemas.microsoft.com/office/powerpoint/2010/main" val="155118261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915BEC-83EA-A379-CB09-9E0D3105630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CA21FCF-CC97-B93D-9F45-90274DC1644B}"/>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707F7EF4-B208-1C2E-A5ED-A16B918E424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799FBD33-8DD4-B345-EE9D-DAED8946C35C}"/>
              </a:ext>
            </a:extLst>
          </p:cNvPr>
          <p:cNvSpPr>
            <a:spLocks noGrp="1"/>
          </p:cNvSpPr>
          <p:nvPr>
            <p:ph type="body" sz="quarter" idx="18"/>
          </p:nvPr>
        </p:nvSpPr>
        <p:spPr>
          <a:xfrm>
            <a:off x="503238" y="774000"/>
            <a:ext cx="8136762" cy="360000"/>
          </a:xfrm>
        </p:spPr>
        <p:txBody>
          <a:bodyPr/>
          <a:lstStyle/>
          <a:p>
            <a:pPr>
              <a:defRPr sz="1200">
                <a:latin typeface="Nexa Bold (Headings)"/>
              </a:defRPr>
            </a:pPr>
            <a:r>
              <a:t>Speed 3 | Price Elasticity | Walmart | Assumes no other products are changing prices</a:t>
            </a:r>
          </a:p>
        </p:txBody>
      </p:sp>
      <p:sp>
        <p:nvSpPr>
          <p:cNvPr id="18" name="Title 17">
            <a:extLst>
              <a:ext uri="{FF2B5EF4-FFF2-40B4-BE49-F238E27FC236}">
                <a16:creationId xmlns:a16="http://schemas.microsoft.com/office/drawing/2014/main" id="{28288887-7A1D-878D-39AD-894BE3CA5C7C}"/>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1B29719E-AD3D-CF6C-B17F-BFE53162DCF5}"/>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Speed 3 Disposable Razors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Equate Speed 3 Disposable Razors 8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9713E610-A2DD-643A-3044-0CD74196A4D5}"/>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13676A4F-A24C-C5ED-DF2B-450EB853797D}"/>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FA07A3E7-DFCE-7495-F553-32E6909B83B4}"/>
              </a:ext>
            </a:extLst>
          </p:cNvPr>
          <p:cNvSpPr>
            <a:spLocks noGrp="1"/>
          </p:cNvSpPr>
          <p:nvPr>
            <p:ph type="sldNum" sz="quarter" idx="16"/>
          </p:nvPr>
        </p:nvSpPr>
        <p:spPr/>
        <p:txBody>
          <a:bodyPr/>
          <a:lstStyle/>
          <a:p>
            <a:fld id="{7B1F438D-4EAF-094E-9162-80CF3EF77236}" type="slidenum">
              <a:rPr lang="en-US" smtClean="0"/>
              <a:pPr/>
              <a:t>84</a:t>
            </a:fld>
            <a:endParaRPr lang="en-US"/>
          </a:p>
        </p:txBody>
      </p:sp>
      <p:sp>
        <p:nvSpPr>
          <p:cNvPr id="3" name="TextBox Y">
            <a:extLst>
              <a:ext uri="{FF2B5EF4-FFF2-40B4-BE49-F238E27FC236}">
                <a16:creationId xmlns:a16="http://schemas.microsoft.com/office/drawing/2014/main" id="{2B0E3713-C911-C593-A9DA-65B074E799C4}"/>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18977137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1FC829-2E0B-56CE-4337-2DF7F456703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D60ED71-5F9E-06A9-A562-C46806FD21F8}"/>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C5F600E-E8B2-4EA8-5098-C336E4CB3A2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D742E9F1-8999-BD35-38D3-90DDF884184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Speed 3 Disposable Razors 4 Pack | Walmart | Assuming no other products are changing prices</a:t>
            </a:r>
          </a:p>
        </p:txBody>
      </p:sp>
      <p:sp>
        <p:nvSpPr>
          <p:cNvPr id="10" name="Title 9">
            <a:extLst>
              <a:ext uri="{FF2B5EF4-FFF2-40B4-BE49-F238E27FC236}">
                <a16:creationId xmlns:a16="http://schemas.microsoft.com/office/drawing/2014/main" id="{8BDEEB8E-EEAA-4657-D92C-031A74A5298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4ECF2833-C0E9-ABC3-AE88-CB62A0DF1BDE}"/>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C877697-FD29-5957-21BA-DD3925A972C3}"/>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217370F9-792E-BF98-579B-CBDAF579BE26}"/>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C31E047F-0DDF-D1F0-D25F-BCFFDB6D1312}"/>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A0A8760-66A3-63D5-DE2E-5BA7F3D4382C}"/>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423DD990-7D07-081E-CA6B-E20A134C2E67}"/>
              </a:ext>
            </a:extLst>
          </p:cNvPr>
          <p:cNvSpPr>
            <a:spLocks noGrp="1"/>
          </p:cNvSpPr>
          <p:nvPr>
            <p:ph type="sldNum" sz="quarter" idx="16"/>
          </p:nvPr>
        </p:nvSpPr>
        <p:spPr/>
        <p:txBody>
          <a:bodyPr/>
          <a:lstStyle/>
          <a:p>
            <a:fld id="{7B1F438D-4EAF-094E-9162-80CF3EF77236}" type="slidenum">
              <a:rPr lang="en-US" smtClean="0"/>
              <a:pPr/>
              <a:t>85</a:t>
            </a:fld>
            <a:endParaRPr lang="en-US"/>
          </a:p>
        </p:txBody>
      </p:sp>
      <p:sp>
        <p:nvSpPr>
          <p:cNvPr id="22" name="Rectangle 21">
            <a:extLst>
              <a:ext uri="{FF2B5EF4-FFF2-40B4-BE49-F238E27FC236}">
                <a16:creationId xmlns:a16="http://schemas.microsoft.com/office/drawing/2014/main" id="{6F3046EC-67E8-85F8-ED59-10738CD47811}"/>
              </a:ext>
            </a:extLst>
          </p:cNvPr>
          <p:cNvSpPr/>
          <p:nvPr/>
        </p:nvSpPr>
        <p:spPr>
          <a:xfrm>
            <a:off x="972000" y="1458000"/>
            <a:ext cx="2147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DA4783D7-CEFA-0DBD-170D-2B2044DA516C}"/>
              </a:ext>
            </a:extLst>
          </p:cNvPr>
          <p:cNvSpPr/>
          <p:nvPr/>
        </p:nvSpPr>
        <p:spPr>
          <a:xfrm>
            <a:off x="3119760" y="1458000"/>
            <a:ext cx="3504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71278027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290D64-28D2-9A8D-9793-877A4B3E826B}"/>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90FEBC3-CC8D-B5D9-1A6B-50138767FA7D}"/>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8.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0962A03-9604-692E-EDF7-E1672573508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6487D023-2861-4006-50E3-07FDFBFCAB1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FABA86D-7F4E-8F2F-6AEB-CB2778CE09C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D2348609-281A-4F6C-3AD6-84D1534827A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Speed 3 Disposable Razors 4 Pack (2.3%) | Up &amp; Down Pricing | Walmart | Assumes no other are changing prices</a:t>
            </a:r>
          </a:p>
        </p:txBody>
      </p:sp>
      <p:sp>
        <p:nvSpPr>
          <p:cNvPr id="4" name="Title1">
            <a:extLst>
              <a:ext uri="{FF2B5EF4-FFF2-40B4-BE49-F238E27FC236}">
                <a16:creationId xmlns:a16="http://schemas.microsoft.com/office/drawing/2014/main" id="{AA91A9BC-FA06-C72B-67E9-6DE9DE8AA9E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057AD26-3B66-C360-C71B-DE3C1B85323B}"/>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9B8DC27-1611-ADEF-E8DB-7013F88B71EC}"/>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A07D1F6-4ECC-B8AB-51EC-112B7DF4BEDC}"/>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6A6D39A-9ED0-F79A-9F11-AA45B1FDA958}"/>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836CBAA7-A5B9-04DA-B473-5896F525E380}"/>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158609281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A67C18-D1E6-57EE-2BE6-1AC7E1569973}"/>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259409-BE54-BF16-66B3-A2C2F0232FF5}"/>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089106F-F5C2-0E26-02CA-3103D46618FD}"/>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C6151E66-0DA5-8E4A-7440-6457E224A8B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Speed 3 Disposable Razors 8 Pack | Walmart | Assuming no other products are changing prices</a:t>
            </a:r>
          </a:p>
        </p:txBody>
      </p:sp>
      <p:sp>
        <p:nvSpPr>
          <p:cNvPr id="10" name="Title 9">
            <a:extLst>
              <a:ext uri="{FF2B5EF4-FFF2-40B4-BE49-F238E27FC236}">
                <a16:creationId xmlns:a16="http://schemas.microsoft.com/office/drawing/2014/main" id="{8A73B917-D85B-A83F-CCE9-F9F995F0A41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8BB5E58C-3C7F-90D5-BA35-4DAE77BCD3CD}"/>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224597C-7704-7DD8-0095-3ED18EA96D63}"/>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6DB97DB-3C80-0050-4BF5-121D062FDFF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E7240B4A-06AB-C446-30DF-D65A0E6BC983}"/>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2FEF8F0-F890-7410-8C87-DA0A1E26795C}"/>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6C40BC8F-A16B-58A0-598F-DFD43CC81EA9}"/>
              </a:ext>
            </a:extLst>
          </p:cNvPr>
          <p:cNvSpPr>
            <a:spLocks noGrp="1"/>
          </p:cNvSpPr>
          <p:nvPr>
            <p:ph type="sldNum" sz="quarter" idx="16"/>
          </p:nvPr>
        </p:nvSpPr>
        <p:spPr/>
        <p:txBody>
          <a:bodyPr/>
          <a:lstStyle/>
          <a:p>
            <a:fld id="{7B1F438D-4EAF-094E-9162-80CF3EF77236}" type="slidenum">
              <a:rPr lang="en-US" smtClean="0"/>
              <a:pPr/>
              <a:t>87</a:t>
            </a:fld>
            <a:endParaRPr lang="en-US"/>
          </a:p>
        </p:txBody>
      </p:sp>
      <p:sp>
        <p:nvSpPr>
          <p:cNvPr id="22" name="Rectangle 21">
            <a:extLst>
              <a:ext uri="{FF2B5EF4-FFF2-40B4-BE49-F238E27FC236}">
                <a16:creationId xmlns:a16="http://schemas.microsoft.com/office/drawing/2014/main" id="{68F951D1-9D9A-14BF-5484-7852BF8659F3}"/>
              </a:ext>
            </a:extLst>
          </p:cNvPr>
          <p:cNvSpPr/>
          <p:nvPr/>
        </p:nvSpPr>
        <p:spPr>
          <a:xfrm>
            <a:off x="972000" y="1458000"/>
            <a:ext cx="2373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B3135A13-5E78-93C8-7A23-5F5FCC3F46BA}"/>
              </a:ext>
            </a:extLst>
          </p:cNvPr>
          <p:cNvSpPr/>
          <p:nvPr/>
        </p:nvSpPr>
        <p:spPr>
          <a:xfrm>
            <a:off x="33458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58DACD72-CEC5-968E-E6D4-9D67B767F124}"/>
              </a:ext>
            </a:extLst>
          </p:cNvPr>
          <p:cNvSpPr/>
          <p:nvPr/>
        </p:nvSpPr>
        <p:spPr>
          <a:xfrm>
            <a:off x="4193639"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EEF56991-18D7-8960-ADD8-00E741A93841}"/>
              </a:ext>
            </a:extLst>
          </p:cNvPr>
          <p:cNvSpPr/>
          <p:nvPr/>
        </p:nvSpPr>
        <p:spPr>
          <a:xfrm>
            <a:off x="617184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12217669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4636E8-5C8B-66E5-CAE5-FEA063D48948}"/>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D98E93F8-5B87-733C-DF8F-E3D740360BC4}"/>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9.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3 Sensitive Disposable Razors 5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8B1C5AD-F4CF-CCF2-3083-34F2118AFB2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9AD2A086-2B9B-C01E-DECF-67D701BB374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6CFEFF0-4F2B-C786-69DA-4B117CCD70C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66F8468F-007E-E441-B20E-C1AD59B15C9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Speed 3 Disposable Razors 8 Pack (1.9%) | Up &amp; Down Pricing | Walmart | Assumes no other are changing prices</a:t>
            </a:r>
          </a:p>
        </p:txBody>
      </p:sp>
      <p:sp>
        <p:nvSpPr>
          <p:cNvPr id="4" name="Title1">
            <a:extLst>
              <a:ext uri="{FF2B5EF4-FFF2-40B4-BE49-F238E27FC236}">
                <a16:creationId xmlns:a16="http://schemas.microsoft.com/office/drawing/2014/main" id="{54A1E997-1FBA-0926-3384-32A54F796CB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02EB6CE-BC79-42B5-1105-CE5DDD275CAA}"/>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146DE844-DB02-2AB2-DEAC-A7CCD794E36D}"/>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647B9014-4936-F3D2-E9C7-1F2BD7CFCDF5}"/>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80CB099-3646-8AFE-C5E1-5F83EF34CA0C}"/>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1A75A908-215C-12F6-7CEB-925F22E0949A}"/>
              </a:ext>
            </a:extLst>
          </p:cNvPr>
          <p:cNvSpPr>
            <a:spLocks noGrp="1"/>
          </p:cNvSpPr>
          <p:nvPr>
            <p:ph type="sldNum" sz="quarter" idx="16"/>
          </p:nvPr>
        </p:nvSpPr>
        <p:spPr/>
        <p:txBody>
          <a:bodyPr/>
          <a:lstStyle/>
          <a:p>
            <a:fld id="{7B1F438D-4EAF-094E-9162-80CF3EF77236}" type="slidenum">
              <a:rPr lang="en-US" smtClean="0"/>
              <a:pPr/>
              <a:t>88</a:t>
            </a:fld>
            <a:endParaRPr lang="en-US"/>
          </a:p>
        </p:txBody>
      </p:sp>
    </p:spTree>
    <p:extLst>
      <p:ext uri="{BB962C8B-B14F-4D97-AF65-F5344CB8AC3E}">
        <p14:creationId xmlns:p14="http://schemas.microsoft.com/office/powerpoint/2010/main" val="311522011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648336-CC09-3C23-8632-55DA0B03292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7D829BB-64F5-4D42-A332-B458A2ECA280}"/>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A1A16138-B944-9201-3F96-A93BFBF561D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27D8FB85-74E0-C59D-2C87-F4C3779BA213}"/>
              </a:ext>
            </a:extLst>
          </p:cNvPr>
          <p:cNvSpPr>
            <a:spLocks noGrp="1"/>
          </p:cNvSpPr>
          <p:nvPr>
            <p:ph type="body" sz="quarter" idx="18"/>
          </p:nvPr>
        </p:nvSpPr>
        <p:spPr>
          <a:xfrm>
            <a:off x="503238" y="774000"/>
            <a:ext cx="8136762" cy="360000"/>
          </a:xfrm>
        </p:spPr>
        <p:txBody>
          <a:bodyPr/>
          <a:lstStyle/>
          <a:p>
            <a:pPr>
              <a:defRPr sz="1200">
                <a:latin typeface="Nexa Bold (Headings)"/>
              </a:defRPr>
            </a:pPr>
            <a:r>
              <a:t>Equate Razor Inno | Price Elasticity | Walmart | Assumes no other products are changing prices</a:t>
            </a:r>
          </a:p>
        </p:txBody>
      </p:sp>
      <p:sp>
        <p:nvSpPr>
          <p:cNvPr id="18" name="Title 17">
            <a:extLst>
              <a:ext uri="{FF2B5EF4-FFF2-40B4-BE49-F238E27FC236}">
                <a16:creationId xmlns:a16="http://schemas.microsoft.com/office/drawing/2014/main" id="{851BEE8F-06A5-5280-E878-76C61E7CD42D}"/>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E8B5EAED-FB51-19C7-0635-E72EA597E574}"/>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5 Blades 1 Handle + 2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Equate Easy Fit 5 blades 1 Handle + 5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B0458729-C97A-73AB-92D5-2607001C2F14}"/>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FA646E3C-B93D-A6B7-115C-752D68F941F5}"/>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1B94DB6B-C45D-61D9-017B-42596486D23D}"/>
              </a:ext>
            </a:extLst>
          </p:cNvPr>
          <p:cNvSpPr>
            <a:spLocks noGrp="1"/>
          </p:cNvSpPr>
          <p:nvPr>
            <p:ph type="sldNum" sz="quarter" idx="16"/>
          </p:nvPr>
        </p:nvSpPr>
        <p:spPr/>
        <p:txBody>
          <a:bodyPr/>
          <a:lstStyle/>
          <a:p>
            <a:fld id="{7B1F438D-4EAF-094E-9162-80CF3EF77236}" type="slidenum">
              <a:rPr lang="en-US" smtClean="0"/>
              <a:pPr/>
              <a:t>89</a:t>
            </a:fld>
            <a:endParaRPr lang="en-US"/>
          </a:p>
        </p:txBody>
      </p:sp>
      <p:sp>
        <p:nvSpPr>
          <p:cNvPr id="3" name="TextBox Y">
            <a:extLst>
              <a:ext uri="{FF2B5EF4-FFF2-40B4-BE49-F238E27FC236}">
                <a16:creationId xmlns:a16="http://schemas.microsoft.com/office/drawing/2014/main" id="{7BEB1C07-6629-8F17-35C8-6DCD81B5A9CD}"/>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8476992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4FA51A-A308-1322-D931-30EEB924FED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83E8029-8976-A90A-7369-B162B51ED94C}"/>
              </a:ext>
            </a:extLst>
          </p:cNvPr>
          <p:cNvGraphicFramePr>
            <a:graphicFrameLocks noGrp="1"/>
          </p:cNvGraphicFramePr>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996">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996">
                <a:tc>
                  <a:txBody>
                    <a:bodyPr/>
                    <a:lstStyle/>
                    <a:p>
                      <a:pPr algn="ctr">
                        <a:defRPr sz="800" b="1">
                          <a:latin typeface="Nexa Bold"/>
                        </a:defRPr>
                      </a:pPr>
                      <a:r>
                        <a:rPr sz="800">
                          <a:latin typeface="Nexa Bold"/>
                        </a:rPr>
                        <a:t>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996">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996">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996">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996">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32F2EE5-B3EF-8AC9-BD47-39DF66601179}"/>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735">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735">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735">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735">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735">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735">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917C007-5016-9012-A340-4616A348768D}"/>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C9CBD8C-E075-C91E-C5AF-63AE3F8EC02D}"/>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77B4A113-4E3C-E222-ECBE-F9FC5A822A59}"/>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Harrys (11.2%) | Up &amp; Down Pricing | Walmart | Assumes no other are changing prices</a:t>
            </a:r>
          </a:p>
        </p:txBody>
      </p:sp>
      <p:sp>
        <p:nvSpPr>
          <p:cNvPr id="4" name="Title1">
            <a:extLst>
              <a:ext uri="{FF2B5EF4-FFF2-40B4-BE49-F238E27FC236}">
                <a16:creationId xmlns:a16="http://schemas.microsoft.com/office/drawing/2014/main" id="{EFB4545A-9740-9E69-09F9-DD0A1F894E3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910D331-8C32-3A7B-9255-6105464C626A}"/>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852C691C-19E2-72EA-C8C7-1A1CB2B473B2}"/>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72E6651E-EDB3-314D-4532-954070574249}"/>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DFA8635E-D3BF-90CC-C0AC-21E5433AB318}"/>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269433161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22F7DB-C891-F9D9-8041-2859CB7633B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64DA3E5A-E750-7619-4D16-902FAC46D7D8}"/>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D40CA186-DE70-4803-9E6B-6D0DCA8A9E5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7ED14C2A-1A0C-5699-7220-EABEC6BD279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5 Blades 1 Handle + 2 Cartridges | Walmart | Assuming no other products are changing prices</a:t>
            </a:r>
          </a:p>
        </p:txBody>
      </p:sp>
      <p:sp>
        <p:nvSpPr>
          <p:cNvPr id="10" name="Title 9">
            <a:extLst>
              <a:ext uri="{FF2B5EF4-FFF2-40B4-BE49-F238E27FC236}">
                <a16:creationId xmlns:a16="http://schemas.microsoft.com/office/drawing/2014/main" id="{6981A5BE-D3A5-B95D-DC43-0320F217D58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D26FE0B6-7C8F-4647-FC9D-35AB94DED56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002C5525-34AA-C527-222B-5E3D8E8566D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7EC51089-AA49-4DB7-1759-9B507290B8CD}"/>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FDC2BA55-9242-E852-BE30-33E6067BA558}"/>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EC608FE-B490-98C3-EFE9-751EC8A34FA7}"/>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F85F1BBC-252A-9FFA-333D-4F77A226A7B3}"/>
              </a:ext>
            </a:extLst>
          </p:cNvPr>
          <p:cNvSpPr>
            <a:spLocks noGrp="1"/>
          </p:cNvSpPr>
          <p:nvPr>
            <p:ph type="sldNum" sz="quarter" idx="16"/>
          </p:nvPr>
        </p:nvSpPr>
        <p:spPr/>
        <p:txBody>
          <a:bodyPr/>
          <a:lstStyle/>
          <a:p>
            <a:fld id="{7B1F438D-4EAF-094E-9162-80CF3EF77236}" type="slidenum">
              <a:rPr lang="en-US" smtClean="0"/>
              <a:pPr/>
              <a:t>90</a:t>
            </a:fld>
            <a:endParaRPr lang="en-US"/>
          </a:p>
        </p:txBody>
      </p:sp>
      <p:sp>
        <p:nvSpPr>
          <p:cNvPr id="22" name="Rectangle 21">
            <a:extLst>
              <a:ext uri="{FF2B5EF4-FFF2-40B4-BE49-F238E27FC236}">
                <a16:creationId xmlns:a16="http://schemas.microsoft.com/office/drawing/2014/main" id="{8D88284F-0BC4-EE8A-FAB3-1FC6B8BFD253}"/>
              </a:ext>
            </a:extLst>
          </p:cNvPr>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Tree>
    <p:extLst>
      <p:ext uri="{BB962C8B-B14F-4D97-AF65-F5344CB8AC3E}">
        <p14:creationId xmlns:p14="http://schemas.microsoft.com/office/powerpoint/2010/main" val="216805552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7645CA-673F-ACBF-DD42-96BE641A274B}"/>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D9C4749-6EA1-0EAC-7F34-1F2423F7200F}"/>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2E9762B-082D-DE8D-71DA-49AB2A1282B2}"/>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EA766CAF-185E-4BD3-9721-62618781FF5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E46346E-49E9-C09E-46FA-081CD8D0EA7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21D2238-2151-7A11-E3E4-4D50D116381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5 Blades 1 Handle + 2 Cartridges (0.0%) | Up &amp; Down Pricing | Walmart | Assumes no other are changing prices</a:t>
            </a:r>
          </a:p>
        </p:txBody>
      </p:sp>
      <p:sp>
        <p:nvSpPr>
          <p:cNvPr id="4" name="Title1">
            <a:extLst>
              <a:ext uri="{FF2B5EF4-FFF2-40B4-BE49-F238E27FC236}">
                <a16:creationId xmlns:a16="http://schemas.microsoft.com/office/drawing/2014/main" id="{836EAD63-72B7-F64F-4303-5D2704763BA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D9047634-1453-02F8-377F-41F887194212}"/>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6D28664C-2DFE-AF57-B8AC-305ADDDCEEC2}"/>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00F553F9-27C6-2A97-B8B6-84853BA8E45C}"/>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C2D9C0B-C62F-D6A9-F22E-7AB3B6A73CFF}"/>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07EAE387-9359-F207-2730-80A65C3A0D27}"/>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5159971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602314-AE52-8EC8-03C5-7178D8A4069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52C8A6F-4E6F-01BA-D57B-0AFE6988338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2A6031E-DC18-94B6-C28A-28B2D8A18F7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FF8963D4-3491-323D-5CD8-1A514383F84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Easy Fit 5 blades 1 Handle + 5 Cartridges | Walmart | Assuming no other products are changing prices</a:t>
            </a:r>
          </a:p>
        </p:txBody>
      </p:sp>
      <p:sp>
        <p:nvSpPr>
          <p:cNvPr id="10" name="Title 9">
            <a:extLst>
              <a:ext uri="{FF2B5EF4-FFF2-40B4-BE49-F238E27FC236}">
                <a16:creationId xmlns:a16="http://schemas.microsoft.com/office/drawing/2014/main" id="{2BF2623C-BEBC-0BCB-E296-0E86CD281A4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D19F978A-56C2-BA66-6E73-FA607527419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3BF009E9-0903-C0BB-338E-5A01938BC93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E34B8D5A-EBFD-B66D-1866-CBB47EA10FC9}"/>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D02A5B7D-32AC-C457-D378-BC02B5980E19}"/>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B496C61-F255-0FF3-9BA3-E3CD933C24E3}"/>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89A2C7A0-F1BC-2328-1C41-4F32C319F740}"/>
              </a:ext>
            </a:extLst>
          </p:cNvPr>
          <p:cNvSpPr>
            <a:spLocks noGrp="1"/>
          </p:cNvSpPr>
          <p:nvPr>
            <p:ph type="sldNum" sz="quarter" idx="16"/>
          </p:nvPr>
        </p:nvSpPr>
        <p:spPr/>
        <p:txBody>
          <a:bodyPr/>
          <a:lstStyle/>
          <a:p>
            <a:fld id="{7B1F438D-4EAF-094E-9162-80CF3EF77236}" type="slidenum">
              <a:rPr lang="en-US" smtClean="0"/>
              <a:pPr/>
              <a:t>92</a:t>
            </a:fld>
            <a:endParaRPr lang="en-US"/>
          </a:p>
        </p:txBody>
      </p:sp>
      <p:sp>
        <p:nvSpPr>
          <p:cNvPr id="22" name="Rectangle 21">
            <a:extLst>
              <a:ext uri="{FF2B5EF4-FFF2-40B4-BE49-F238E27FC236}">
                <a16:creationId xmlns:a16="http://schemas.microsoft.com/office/drawing/2014/main" id="{526B5434-8A0B-E4EC-70EA-EDA780F0DA8E}"/>
              </a:ext>
            </a:extLst>
          </p:cNvPr>
          <p:cNvSpPr/>
          <p:nvPr/>
        </p:nvSpPr>
        <p:spPr>
          <a:xfrm>
            <a:off x="972000" y="1458000"/>
            <a:ext cx="960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A2ECB0A1-2208-001D-6718-C7711F7B76C2}"/>
              </a:ext>
            </a:extLst>
          </p:cNvPr>
          <p:cNvSpPr/>
          <p:nvPr/>
        </p:nvSpPr>
        <p:spPr>
          <a:xfrm>
            <a:off x="193284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6F187AA9-2961-EFA5-FC92-2084450B9459}"/>
              </a:ext>
            </a:extLst>
          </p:cNvPr>
          <p:cNvSpPr/>
          <p:nvPr/>
        </p:nvSpPr>
        <p:spPr>
          <a:xfrm>
            <a:off x="311976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BE41F962-9A8C-E380-7ED1-339B794596C8}"/>
              </a:ext>
            </a:extLst>
          </p:cNvPr>
          <p:cNvSpPr/>
          <p:nvPr/>
        </p:nvSpPr>
        <p:spPr>
          <a:xfrm>
            <a:off x="379800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a:extLst>
              <a:ext uri="{FF2B5EF4-FFF2-40B4-BE49-F238E27FC236}">
                <a16:creationId xmlns:a16="http://schemas.microsoft.com/office/drawing/2014/main" id="{DB7FD55D-5689-8FFF-F989-94A38D432045}"/>
              </a:ext>
            </a:extLst>
          </p:cNvPr>
          <p:cNvSpPr/>
          <p:nvPr/>
        </p:nvSpPr>
        <p:spPr>
          <a:xfrm>
            <a:off x="4984920" y="1458000"/>
            <a:ext cx="1639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76185781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636080-258A-F3B0-90FA-540F2593E765}"/>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9D0FA7C-3CE4-C727-9025-46917EE29ECA}"/>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1 Handle + 3 Cartridges Holiday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E65AB97-6C33-EAE9-376D-97569E470C06}"/>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1A3F2F4-594A-EAA2-1A41-B5EC77D9AB2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59818B3-D721-6DC1-A0F1-782B9AEE0EA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5C7A6E16-1515-BE32-DB2B-9CA992EF5C0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Easy Fit 5 blades 1 Handle + 5 Cartridges (0.0%) | Up &amp; Down Pricing | Walmart | Assumes no other are changing prices</a:t>
            </a:r>
          </a:p>
        </p:txBody>
      </p:sp>
      <p:sp>
        <p:nvSpPr>
          <p:cNvPr id="4" name="Title1">
            <a:extLst>
              <a:ext uri="{FF2B5EF4-FFF2-40B4-BE49-F238E27FC236}">
                <a16:creationId xmlns:a16="http://schemas.microsoft.com/office/drawing/2014/main" id="{74F6476D-6BE7-C71B-9DE7-820CDE56F53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E14571D-272E-5832-6049-5B688FC0E47D}"/>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D80E1FA-B3A2-E1B7-168E-88B8B7243ECE}"/>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6F14A017-06E3-2F9F-155A-BB16CBC8746E}"/>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47D6345-30E3-5CCE-3DD6-D0EC091F04BD}"/>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3BB94E97-AFB5-44F8-2BCD-3669A1AE89A6}"/>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328587437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4F9AC3-8698-A93A-04BE-1CC8A2E75CC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21823C4-735B-B69B-76CD-84AF7D323642}"/>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6934AEC1-420E-5C53-FE67-40667D1FA63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073F8BBE-25C3-B2B7-E863-CE028FF6BECC}"/>
              </a:ext>
            </a:extLst>
          </p:cNvPr>
          <p:cNvSpPr>
            <a:spLocks noGrp="1"/>
          </p:cNvSpPr>
          <p:nvPr>
            <p:ph type="body" sz="quarter" idx="18"/>
          </p:nvPr>
        </p:nvSpPr>
        <p:spPr>
          <a:xfrm>
            <a:off x="503238" y="774000"/>
            <a:ext cx="8136762" cy="360000"/>
          </a:xfrm>
        </p:spPr>
        <p:txBody>
          <a:bodyPr/>
          <a:lstStyle/>
          <a:p>
            <a:pPr>
              <a:defRPr sz="1200">
                <a:latin typeface="Nexa Bold (Headings)"/>
              </a:defRPr>
            </a:pPr>
            <a:r>
              <a:t>Easy Fit 5 | Price Elasticity | Walmart | Assumes no other products are changing prices</a:t>
            </a:r>
          </a:p>
        </p:txBody>
      </p:sp>
      <p:sp>
        <p:nvSpPr>
          <p:cNvPr id="18" name="Title 17">
            <a:extLst>
              <a:ext uri="{FF2B5EF4-FFF2-40B4-BE49-F238E27FC236}">
                <a16:creationId xmlns:a16="http://schemas.microsoft.com/office/drawing/2014/main" id="{63BB03B6-1125-4B66-BAE3-267D7A42540A}"/>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C40DAFF1-9A98-AD7D-5B9B-9CD55DF5C291}"/>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Easy Fit 5 blades 1 Handle + 2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E0893A14-953A-CEDA-4C91-60CFFD632D84}"/>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8091DD49-67ED-7CA6-18BB-B8C78792C5EA}"/>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EC1C92BD-7EA3-7F6D-E79E-0318345D5B83}"/>
              </a:ext>
            </a:extLst>
          </p:cNvPr>
          <p:cNvSpPr>
            <a:spLocks noGrp="1"/>
          </p:cNvSpPr>
          <p:nvPr>
            <p:ph type="sldNum" sz="quarter" idx="16"/>
          </p:nvPr>
        </p:nvSpPr>
        <p:spPr/>
        <p:txBody>
          <a:bodyPr/>
          <a:lstStyle/>
          <a:p>
            <a:fld id="{7B1F438D-4EAF-094E-9162-80CF3EF77236}" type="slidenum">
              <a:rPr lang="en-US" smtClean="0"/>
              <a:pPr/>
              <a:t>94</a:t>
            </a:fld>
            <a:endParaRPr lang="en-US"/>
          </a:p>
        </p:txBody>
      </p:sp>
      <p:sp>
        <p:nvSpPr>
          <p:cNvPr id="3" name="TextBox Y">
            <a:extLst>
              <a:ext uri="{FF2B5EF4-FFF2-40B4-BE49-F238E27FC236}">
                <a16:creationId xmlns:a16="http://schemas.microsoft.com/office/drawing/2014/main" id="{FE34A6F8-509D-5696-1BC2-119D71360299}"/>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50317088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1BBC32-372C-33DF-D9A8-EB38B07BC91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DCA3CB2-A9D1-5D00-84E0-C7ED255E6DED}"/>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177D9EB-833E-0AAC-DB80-DC38A9E9D883}"/>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4E9ABF5C-74CC-D6FE-7E8E-FE1B633963C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Easy Fit 5 blades 1 Handle + 2 Cartridges | Walmart | Assuming no other products are changing prices</a:t>
            </a:r>
          </a:p>
        </p:txBody>
      </p:sp>
      <p:sp>
        <p:nvSpPr>
          <p:cNvPr id="10" name="Title 9">
            <a:extLst>
              <a:ext uri="{FF2B5EF4-FFF2-40B4-BE49-F238E27FC236}">
                <a16:creationId xmlns:a16="http://schemas.microsoft.com/office/drawing/2014/main" id="{91EA106B-4AE2-D761-71D3-25A09C36173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11B74822-0993-25DB-579C-B710313E0B77}"/>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414F514E-0D36-1425-62AD-2DBF09D3B91D}"/>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E7EA23E9-CA96-8545-D637-CA18B7311ADA}"/>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4BF609EA-8B7A-8939-4F85-A86035F52B31}"/>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B7B357E-161C-5FE5-02B2-89413214741D}"/>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2D230E96-AE4F-2525-9BAC-738B7E409FDD}"/>
              </a:ext>
            </a:extLst>
          </p:cNvPr>
          <p:cNvSpPr>
            <a:spLocks noGrp="1"/>
          </p:cNvSpPr>
          <p:nvPr>
            <p:ph type="sldNum" sz="quarter" idx="16"/>
          </p:nvPr>
        </p:nvSpPr>
        <p:spPr/>
        <p:txBody>
          <a:bodyPr/>
          <a:lstStyle/>
          <a:p>
            <a:fld id="{7B1F438D-4EAF-094E-9162-80CF3EF77236}" type="slidenum">
              <a:rPr lang="en-US" smtClean="0"/>
              <a:pPr/>
              <a:t>95</a:t>
            </a:fld>
            <a:endParaRPr lang="en-US"/>
          </a:p>
        </p:txBody>
      </p:sp>
      <p:sp>
        <p:nvSpPr>
          <p:cNvPr id="22" name="Rectangle 21">
            <a:extLst>
              <a:ext uri="{FF2B5EF4-FFF2-40B4-BE49-F238E27FC236}">
                <a16:creationId xmlns:a16="http://schemas.microsoft.com/office/drawing/2014/main" id="{F50E0E3B-0D69-5888-B2A3-C5D5D2BF53BD}"/>
              </a:ext>
            </a:extLst>
          </p:cNvPr>
          <p:cNvSpPr/>
          <p:nvPr/>
        </p:nvSpPr>
        <p:spPr>
          <a:xfrm>
            <a:off x="972000" y="1458000"/>
            <a:ext cx="1752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CF6E8722-4FAD-7111-7D5A-4B33B9A18985}"/>
              </a:ext>
            </a:extLst>
          </p:cNvPr>
          <p:cNvSpPr/>
          <p:nvPr/>
        </p:nvSpPr>
        <p:spPr>
          <a:xfrm>
            <a:off x="2724120" y="1458000"/>
            <a:ext cx="3956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6C4F1AF0-3269-597E-2526-2DC633E564A5}"/>
              </a:ext>
            </a:extLst>
          </p:cNvPr>
          <p:cNvSpPr/>
          <p:nvPr/>
        </p:nvSpPr>
        <p:spPr>
          <a:xfrm>
            <a:off x="3119760" y="1458000"/>
            <a:ext cx="1752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a:extLst>
              <a:ext uri="{FF2B5EF4-FFF2-40B4-BE49-F238E27FC236}">
                <a16:creationId xmlns:a16="http://schemas.microsoft.com/office/drawing/2014/main" id="{29444A56-8546-DC6C-F393-0BAB59223777}"/>
              </a:ext>
            </a:extLst>
          </p:cNvPr>
          <p:cNvSpPr/>
          <p:nvPr/>
        </p:nvSpPr>
        <p:spPr>
          <a:xfrm>
            <a:off x="4871880" y="1458000"/>
            <a:ext cx="17521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425122747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050F0-6842-E6DC-5C72-65B187BF72E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6C9045A8-7AF5-33C5-8272-1EEB41D48B6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7.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085F4E5-514B-2E94-46C5-14491963123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809F243-5BA5-A706-5CD8-1D13EC7AB94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1EFF808-D2F1-8BA9-BFEB-91E4C1BC44B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78F31A16-389B-CD5B-351B-BF44833FEBD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Easy Fit 5 blades 1 Handle + 2 Cartridges (1.1%) | Up &amp; Down Pricing | Walmart | Assumes no other are changing prices</a:t>
            </a:r>
          </a:p>
        </p:txBody>
      </p:sp>
      <p:sp>
        <p:nvSpPr>
          <p:cNvPr id="4" name="Title1">
            <a:extLst>
              <a:ext uri="{FF2B5EF4-FFF2-40B4-BE49-F238E27FC236}">
                <a16:creationId xmlns:a16="http://schemas.microsoft.com/office/drawing/2014/main" id="{EA0410FF-73F2-6051-3FAA-3B9728AB916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57BC4ED-D3A7-6B1A-3554-4A1887A8356F}"/>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9861EE3E-F7B8-5CAC-33FD-446759C286E5}"/>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A5FA5A6C-BC0F-EF12-632E-EF42A6A8A09A}"/>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2163E51-ABA5-E1E1-95F6-2320B15BC00A}"/>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D0633C99-C5E4-40A2-E86C-F9EEA6F9219A}"/>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373121218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BEBEBD-ECF0-8CC9-BC2A-9C77F7113638}"/>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F502B98-88A2-9006-F71D-7466E1A4CCF0}"/>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21C318D-3955-96A5-F81A-66FEFB7CA12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5ED630E0-66FD-8141-D3CE-BF1F4CEBAB2C}"/>
              </a:ext>
            </a:extLst>
          </p:cNvPr>
          <p:cNvSpPr>
            <a:spLocks noGrp="1"/>
          </p:cNvSpPr>
          <p:nvPr>
            <p:ph type="body" sz="quarter" idx="18"/>
          </p:nvPr>
        </p:nvSpPr>
        <p:spPr>
          <a:xfrm>
            <a:off x="503238" y="774000"/>
            <a:ext cx="8136762" cy="360000"/>
          </a:xfrm>
        </p:spPr>
        <p:txBody>
          <a:bodyPr/>
          <a:lstStyle/>
          <a:p>
            <a:pPr>
              <a:defRPr sz="1200">
                <a:latin typeface="Nexa Bold (Headings)"/>
              </a:defRPr>
            </a:pPr>
            <a:r>
              <a:t>Hydro Blades | Price Elasticity | Walmart | Assumes no other products are changing prices</a:t>
            </a:r>
          </a:p>
        </p:txBody>
      </p:sp>
      <p:sp>
        <p:nvSpPr>
          <p:cNvPr id="18" name="Title 17">
            <a:extLst>
              <a:ext uri="{FF2B5EF4-FFF2-40B4-BE49-F238E27FC236}">
                <a16:creationId xmlns:a16="http://schemas.microsoft.com/office/drawing/2014/main" id="{DA967512-3D8A-3E19-8DA7-1C750B06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99D8593F-4897-B2CF-2036-D227309FE38B}"/>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3 Blade Ultra Sensitive Refills 5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5 Blade Sensitive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7.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Hydro 5 Blade Sensitive Refills 12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5.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C6F37960-4815-1577-3FF0-E9CA806FC83E}"/>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D8963904-912C-E926-825C-F16DAE1C75B1}"/>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1AD69A9D-5117-7E81-5F24-119F53C75101}"/>
              </a:ext>
            </a:extLst>
          </p:cNvPr>
          <p:cNvSpPr>
            <a:spLocks noGrp="1"/>
          </p:cNvSpPr>
          <p:nvPr>
            <p:ph type="sldNum" sz="quarter" idx="16"/>
          </p:nvPr>
        </p:nvSpPr>
        <p:spPr/>
        <p:txBody>
          <a:bodyPr/>
          <a:lstStyle/>
          <a:p>
            <a:fld id="{7B1F438D-4EAF-094E-9162-80CF3EF77236}" type="slidenum">
              <a:rPr lang="en-US" smtClean="0"/>
              <a:pPr/>
              <a:t>97</a:t>
            </a:fld>
            <a:endParaRPr lang="en-US"/>
          </a:p>
        </p:txBody>
      </p:sp>
      <p:sp>
        <p:nvSpPr>
          <p:cNvPr id="3" name="TextBox Y">
            <a:extLst>
              <a:ext uri="{FF2B5EF4-FFF2-40B4-BE49-F238E27FC236}">
                <a16:creationId xmlns:a16="http://schemas.microsoft.com/office/drawing/2014/main" id="{6ABBF967-40E5-98A4-359D-927D4387BFEB}"/>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4845476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599AD-93BB-E134-9FFC-5D315380D4B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006443CB-54DE-F775-5F41-8385546342D4}"/>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BBF503C9-2ACB-0FB7-6E13-0234E6FC86CB}"/>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83F365EA-B173-7F23-C656-5A9B0F90D8C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3 Blade Ultra Sensitive Refills 5 Pack | Walmart | Assuming no other products are changing prices</a:t>
            </a:r>
          </a:p>
        </p:txBody>
      </p:sp>
      <p:sp>
        <p:nvSpPr>
          <p:cNvPr id="10" name="Title 9">
            <a:extLst>
              <a:ext uri="{FF2B5EF4-FFF2-40B4-BE49-F238E27FC236}">
                <a16:creationId xmlns:a16="http://schemas.microsoft.com/office/drawing/2014/main" id="{C870BC33-22F1-586B-6026-0AD19FC20BB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163D0EB1-84DA-95E3-27AF-8163C6F93888}"/>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61802AE2-377A-7DA2-DC6D-CB1EC044A2A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80FA183D-1F41-2708-36F0-59CC247FD83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BACD4E54-B4F3-5EF2-0B08-5E046413597B}"/>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E0BC403-2EFF-27ED-8073-7FC89124F8C9}"/>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50D4219F-CA00-8958-292C-EF6D7A4DF54D}"/>
              </a:ext>
            </a:extLst>
          </p:cNvPr>
          <p:cNvSpPr>
            <a:spLocks noGrp="1"/>
          </p:cNvSpPr>
          <p:nvPr>
            <p:ph type="sldNum" sz="quarter" idx="16"/>
          </p:nvPr>
        </p:nvSpPr>
        <p:spPr/>
        <p:txBody>
          <a:bodyPr/>
          <a:lstStyle/>
          <a:p>
            <a:fld id="{7B1F438D-4EAF-094E-9162-80CF3EF77236}" type="slidenum">
              <a:rPr lang="en-US" smtClean="0"/>
              <a:pPr/>
              <a:t>98</a:t>
            </a:fld>
            <a:endParaRPr lang="en-US"/>
          </a:p>
        </p:txBody>
      </p:sp>
      <p:sp>
        <p:nvSpPr>
          <p:cNvPr id="22" name="Rectangle 21">
            <a:extLst>
              <a:ext uri="{FF2B5EF4-FFF2-40B4-BE49-F238E27FC236}">
                <a16:creationId xmlns:a16="http://schemas.microsoft.com/office/drawing/2014/main" id="{CC2CD415-4C81-617E-E67C-B6127AD0FB07}"/>
              </a:ext>
            </a:extLst>
          </p:cNvPr>
          <p:cNvSpPr/>
          <p:nvPr/>
        </p:nvSpPr>
        <p:spPr>
          <a:xfrm>
            <a:off x="97200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3DC3FE3E-CD10-0098-E328-7185A6114A94}"/>
              </a:ext>
            </a:extLst>
          </p:cNvPr>
          <p:cNvSpPr/>
          <p:nvPr/>
        </p:nvSpPr>
        <p:spPr>
          <a:xfrm>
            <a:off x="3063240" y="1458000"/>
            <a:ext cx="14695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8D77D881-F5A4-BBE0-B8D2-6966F5B57A45}"/>
              </a:ext>
            </a:extLst>
          </p:cNvPr>
          <p:cNvSpPr/>
          <p:nvPr/>
        </p:nvSpPr>
        <p:spPr>
          <a:xfrm>
            <a:off x="453276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86856474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F5D3E8-4125-42B5-3BB7-129956098606}"/>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448F5719-E9FE-BD11-553C-80412CAAADD8}"/>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3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347621E-F0C8-94A9-9C65-02D8AA1400AC}"/>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384E11D-73BB-86DF-8E2E-8F85ED6F32E2}"/>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DF23254-40CF-CADF-C728-2A6E37F942E2}"/>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E55E7C6-BF03-91A8-8450-D4016D758EB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3 Blade Ultra Sensitive Refills 5 Pack (0.0%) | Up &amp; Down Pricing | Walmart | Assumes no other are changing prices</a:t>
            </a:r>
          </a:p>
        </p:txBody>
      </p:sp>
      <p:sp>
        <p:nvSpPr>
          <p:cNvPr id="4" name="Title1">
            <a:extLst>
              <a:ext uri="{FF2B5EF4-FFF2-40B4-BE49-F238E27FC236}">
                <a16:creationId xmlns:a16="http://schemas.microsoft.com/office/drawing/2014/main" id="{DFD76336-8BA5-9406-4190-48EE704FFD3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1A367AF-EB6E-FD9D-03EC-CED5DE02DC7D}"/>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455960A-4524-A281-C013-578AF8764F4C}"/>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4436F42-7D5C-E6ED-7024-D778A49B5D16}"/>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58E0AD1-3DFC-AD31-5C1F-D2A53883475E}"/>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0994DF81-681C-329E-8812-194A20C56F66}"/>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41851940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8D7B908-B0DA-4AEE-8D52-892C7A4A76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3099</Words>
  <Application>Microsoft Office PowerPoint</Application>
  <PresentationFormat>On-screen Show (16:9)</PresentationFormat>
  <Paragraphs>5220</Paragraphs>
  <Slides>131</Slides>
  <Notes>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31</vt:i4>
      </vt:variant>
    </vt:vector>
  </HeadingPairs>
  <TitlesOfParts>
    <vt:vector size="143" baseType="lpstr">
      <vt:lpstr>Aptos</vt:lpstr>
      <vt:lpstr>Arial</vt:lpstr>
      <vt:lpstr>Cambria Math</vt:lpstr>
      <vt:lpstr>Nexa</vt:lpstr>
      <vt:lpstr>Nexa Bold</vt:lpstr>
      <vt:lpstr>Nexa Book</vt:lpstr>
      <vt:lpstr>Nexa Book (Body)</vt:lpstr>
      <vt:lpstr>Nexa Book Italic</vt:lpstr>
      <vt:lpstr>Open Sans</vt:lpstr>
      <vt:lpstr>PricingOne Light Template Oct 2024</vt:lpstr>
      <vt:lpstr>1_PricingOne</vt:lpstr>
      <vt:lpstr>think-cell Slide</vt:lpstr>
      <vt:lpstr>Brand Elasticity Analysis (Replace with SO WHAT)</vt:lpstr>
      <vt:lpstr>Brand Elasticity Analysis (Replace with SO WHAT)</vt:lpstr>
      <vt:lpstr>Brand Elasticity Analysis (Replace with SO WHAT)</vt:lpstr>
      <vt:lpstr>Brand Elasticity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SE Slide (Replace with So What)</vt:lpstr>
      <vt:lpstr>SE Slide (Replace with So What)</vt:lpstr>
      <vt:lpstr>SE Slide (Replace with So What)</vt:lpstr>
      <vt:lpstr>SE Slide (Replace with So What)</vt:lpstr>
      <vt:lpstr>SE Slide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Price Elasticity Curv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8</cp:revision>
  <dcterms:created xsi:type="dcterms:W3CDTF">2024-07-08T12:09:12Z</dcterms:created>
  <dcterms:modified xsi:type="dcterms:W3CDTF">2025-08-15T09:26: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